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97" r:id="rId1"/>
  </p:sldMasterIdLst>
  <p:notesMasterIdLst>
    <p:notesMasterId r:id="rId18"/>
  </p:notesMasterIdLst>
  <p:handoutMasterIdLst>
    <p:handoutMasterId r:id="rId19"/>
  </p:handoutMasterIdLst>
  <p:sldIdLst>
    <p:sldId id="304" r:id="rId2"/>
    <p:sldId id="339" r:id="rId3"/>
    <p:sldId id="343" r:id="rId4"/>
    <p:sldId id="354" r:id="rId5"/>
    <p:sldId id="355" r:id="rId6"/>
    <p:sldId id="356" r:id="rId7"/>
    <p:sldId id="357" r:id="rId8"/>
    <p:sldId id="358" r:id="rId9"/>
    <p:sldId id="359" r:id="rId10"/>
    <p:sldId id="360" r:id="rId11"/>
    <p:sldId id="361" r:id="rId12"/>
    <p:sldId id="362" r:id="rId13"/>
    <p:sldId id="364" r:id="rId14"/>
    <p:sldId id="363" r:id="rId15"/>
    <p:sldId id="365" r:id="rId16"/>
    <p:sldId id="335" r:id="rId17"/>
  </p:sldIdLst>
  <p:sldSz cx="12192000" cy="6858000"/>
  <p:notesSz cx="6858000" cy="9144000"/>
  <p:embeddedFontLst>
    <p:embeddedFont>
      <p:font typeface="Calibri" panose="020F0502020204030204" pitchFamily="34" charset="0"/>
      <p:regular r:id="rId20"/>
      <p:bold r:id="rId21"/>
      <p:italic r:id="rId22"/>
      <p:boldItalic r:id="rId23"/>
    </p:embeddedFont>
    <p:embeddedFont>
      <p:font typeface="Montserrat" panose="020B0604020202020204" charset="0"/>
      <p:regular r:id="rId24"/>
      <p:bold r:id="rId25"/>
      <p:boldItalic r:id="rId26"/>
    </p:embeddedFont>
    <p:embeddedFont>
      <p:font typeface="Montserrat SemiBold" panose="020B0604020202020204" charset="0"/>
      <p:regular r:id="rId27"/>
      <p:bold r:id="rId28"/>
    </p:embeddedFont>
  </p:embeddedFontLst>
  <p:custDataLst>
    <p:tags r:id="rId2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ACAC8"/>
    <a:srgbClr val="3A0092"/>
    <a:srgbClr val="E6E7E8"/>
    <a:srgbClr val="100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243" autoAdjust="0"/>
    <p:restoredTop sz="94663"/>
  </p:normalViewPr>
  <p:slideViewPr>
    <p:cSldViewPr snapToGrid="0" snapToObjects="1" showGuides="1">
      <p:cViewPr varScale="1">
        <p:scale>
          <a:sx n="41" d="100"/>
          <a:sy n="41" d="100"/>
        </p:scale>
        <p:origin x="684" y="-4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26" Type="http://schemas.openxmlformats.org/officeDocument/2006/relationships/font" Target="fonts/font7.fntdata"/><Relationship Id="rId3" Type="http://schemas.openxmlformats.org/officeDocument/2006/relationships/slide" Target="slides/slide2.xml"/><Relationship Id="rId21" Type="http://schemas.openxmlformats.org/officeDocument/2006/relationships/font" Target="fonts/font2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6.fntdata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1.fntdata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5.fntdata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4.fntdata"/><Relationship Id="rId28" Type="http://schemas.openxmlformats.org/officeDocument/2006/relationships/font" Target="fonts/font9.fntdata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3.fntdata"/><Relationship Id="rId27" Type="http://schemas.openxmlformats.org/officeDocument/2006/relationships/font" Target="fonts/font8.fntdata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BBB894-E1A7-FD43-A252-8B5A60C1F34A}" type="datetimeFigureOut">
              <a:rPr lang="en-US" smtClean="0"/>
              <a:t>2/17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DFAEE0-8029-A94B-802A-8A286C4D3F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03324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708FC6-91E6-4FF4-91B0-110CA1AA77DC}" type="datetimeFigureOut">
              <a:rPr lang="en-US" smtClean="0"/>
              <a:t>2/17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6A8658-EB80-4DD7-A912-B2638ECE9F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79030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7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9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4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ED3526D-2D43-41BD-AE11-AFF0A422CC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4853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3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DD15303-77E3-4216-BE36-733574EB514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50" b="0" i="0" baseline="0" dirty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8725" y="2295728"/>
            <a:ext cx="7072233" cy="1253627"/>
          </a:xfrm>
          <a:noFill/>
        </p:spPr>
        <p:txBody>
          <a:bodyPr anchor="b">
            <a:no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/>
              <a:t>Title Block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8725" y="3774310"/>
            <a:ext cx="7072233" cy="508228"/>
          </a:xfrm>
          <a:noFill/>
        </p:spPr>
        <p:txBody>
          <a:bodyPr/>
          <a:lstStyle>
            <a:lvl1pPr marL="0" indent="0" algn="l">
              <a:buNone/>
              <a:defRPr sz="1500">
                <a:solidFill>
                  <a:schemeClr val="accent2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90BD151-CA4C-C144-964C-BA07C87C7A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0" y="331546"/>
            <a:ext cx="4161982" cy="160076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1B3F8D5-CAAE-6A47-8861-17C3550465E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8462" y="69413"/>
            <a:ext cx="1535484" cy="8426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85941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gu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D0FD60D-40F7-4304-95DF-836FE49882B9}"/>
              </a:ext>
            </a:extLst>
          </p:cNvPr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679ADEB-039C-40F5-B059-9154B51740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50" y="6301533"/>
            <a:ext cx="1793661" cy="216853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02B2964C-36DB-4F3D-A85E-783F6D118F2C}"/>
              </a:ext>
            </a:extLst>
          </p:cNvPr>
          <p:cNvGrpSpPr/>
          <p:nvPr userDrawn="1"/>
        </p:nvGrpSpPr>
        <p:grpSpPr>
          <a:xfrm>
            <a:off x="5613052" y="295276"/>
            <a:ext cx="6267488" cy="6267452"/>
            <a:chOff x="5613052" y="295276"/>
            <a:chExt cx="6267488" cy="6267452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67A94C32-D8CA-41FE-B71A-1636268B15EF}"/>
                </a:ext>
              </a:extLst>
            </p:cNvPr>
            <p:cNvSpPr/>
            <p:nvPr userDrawn="1"/>
          </p:nvSpPr>
          <p:spPr>
            <a:xfrm>
              <a:off x="5613052" y="295276"/>
              <a:ext cx="6267488" cy="626745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>
                <a:solidFill>
                  <a:schemeClr val="bg1"/>
                </a:solidFill>
              </a:endParaRPr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DD21ACF2-2A83-47AB-862B-FCD6D86EAFFC}"/>
                </a:ext>
              </a:extLst>
            </p:cNvPr>
            <p:cNvSpPr/>
            <p:nvPr userDrawn="1"/>
          </p:nvSpPr>
          <p:spPr>
            <a:xfrm flipH="1">
              <a:off x="5755944" y="438149"/>
              <a:ext cx="5981704" cy="5981702"/>
            </a:xfrm>
            <a:prstGeom prst="donut">
              <a:avLst>
                <a:gd name="adj" fmla="val 16425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 dirty="0">
                <a:solidFill>
                  <a:schemeClr val="bg1"/>
                </a:solidFill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45E0160-3614-470C-BDFC-C1F123CD4C1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-1459"/>
            <a:stretch/>
          </p:blipFill>
          <p:spPr>
            <a:xfrm>
              <a:off x="6366796" y="806298"/>
              <a:ext cx="4821157" cy="4751832"/>
            </a:xfrm>
            <a:prstGeom prst="rect">
              <a:avLst/>
            </a:prstGeom>
            <a:effectLst/>
          </p:spPr>
        </p:pic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84EBAC0E-9689-47B2-85A9-134D716EB72B}"/>
              </a:ext>
            </a:extLst>
          </p:cNvPr>
          <p:cNvSpPr/>
          <p:nvPr userDrawn="1"/>
        </p:nvSpPr>
        <p:spPr>
          <a:xfrm>
            <a:off x="336550" y="2619179"/>
            <a:ext cx="58844" cy="161964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3155F66-6627-2142-9FE9-0A2FB8FA2A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4481" y="2176931"/>
            <a:ext cx="5205829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Simple Transition Slid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91BFA8A-1374-7E42-BF58-FA4EBB2A3FA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4481" y="3425318"/>
            <a:ext cx="5205829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53496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gu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D0FD60D-40F7-4304-95DF-836FE49882B9}"/>
              </a:ext>
            </a:extLst>
          </p:cNvPr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679ADEB-039C-40F5-B059-9154B51740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50" y="6301533"/>
            <a:ext cx="1793661" cy="216853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02B2964C-36DB-4F3D-A85E-783F6D118F2C}"/>
              </a:ext>
            </a:extLst>
          </p:cNvPr>
          <p:cNvGrpSpPr/>
          <p:nvPr userDrawn="1"/>
        </p:nvGrpSpPr>
        <p:grpSpPr>
          <a:xfrm>
            <a:off x="5613052" y="295276"/>
            <a:ext cx="6267488" cy="6267452"/>
            <a:chOff x="5613052" y="295276"/>
            <a:chExt cx="6267488" cy="6267452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67A94C32-D8CA-41FE-B71A-1636268B15EF}"/>
                </a:ext>
              </a:extLst>
            </p:cNvPr>
            <p:cNvSpPr/>
            <p:nvPr userDrawn="1"/>
          </p:nvSpPr>
          <p:spPr>
            <a:xfrm>
              <a:off x="5613052" y="295276"/>
              <a:ext cx="6267488" cy="626745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>
                <a:solidFill>
                  <a:schemeClr val="bg1"/>
                </a:solidFill>
              </a:endParaRPr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DD21ACF2-2A83-47AB-862B-FCD6D86EAFFC}"/>
                </a:ext>
              </a:extLst>
            </p:cNvPr>
            <p:cNvSpPr/>
            <p:nvPr userDrawn="1"/>
          </p:nvSpPr>
          <p:spPr>
            <a:xfrm flipH="1">
              <a:off x="5755944" y="448088"/>
              <a:ext cx="5981704" cy="5981702"/>
            </a:xfrm>
            <a:prstGeom prst="donut">
              <a:avLst>
                <a:gd name="adj" fmla="val 16425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 dirty="0">
                <a:solidFill>
                  <a:schemeClr val="bg1"/>
                </a:solidFill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45E0160-3614-470C-BDFC-C1F123CD4C1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-325"/>
            <a:stretch/>
          </p:blipFill>
          <p:spPr>
            <a:xfrm>
              <a:off x="6595177" y="1070630"/>
              <a:ext cx="4237151" cy="4447022"/>
            </a:xfrm>
            <a:prstGeom prst="rect">
              <a:avLst/>
            </a:prstGeom>
            <a:effectLst/>
          </p:spPr>
        </p:pic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84EBAC0E-9689-47B2-85A9-134D716EB72B}"/>
              </a:ext>
            </a:extLst>
          </p:cNvPr>
          <p:cNvSpPr/>
          <p:nvPr userDrawn="1"/>
        </p:nvSpPr>
        <p:spPr>
          <a:xfrm>
            <a:off x="336550" y="2619179"/>
            <a:ext cx="58844" cy="161964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FC13F38-1960-B442-B8B7-79F5E42512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4481" y="2176931"/>
            <a:ext cx="5205829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Simple Transition Slid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D3CD320-F075-3748-8F3D-2DB96F27F7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4481" y="3425318"/>
            <a:ext cx="5205829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9932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1E0F2D7-0F5A-4A9D-8A08-922C8FAFEA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146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3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D21CE2-77EF-4574-A29F-7F8EABAA20B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57200" y="1396473"/>
            <a:ext cx="11277600" cy="4780491"/>
          </a:xfrm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65125"/>
            <a:ext cx="11277600" cy="914400"/>
          </a:xfrm>
        </p:spPr>
        <p:txBody>
          <a:bodyPr anchor="ctr"/>
          <a:lstStyle/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14975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5FC6BDF-F541-4BDE-A284-229958FCDC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5161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7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95B871D-E513-4E1E-9214-58513D42594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57201" y="1396473"/>
            <a:ext cx="5540828" cy="4780491"/>
          </a:xfrm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7EF0788-9E9D-4BA3-A132-B323D31F49B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94426" y="1396474"/>
            <a:ext cx="5540375" cy="478049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50293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99930E-69B7-4A72-98BD-FBA90240F6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1039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1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FE23A40-4642-46FC-80E3-90E9C2B1C50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57201" y="1396473"/>
            <a:ext cx="3635828" cy="4780491"/>
          </a:xfrm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8C7E46B-CD8E-4D36-BE34-7C73F0219F3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278312" y="1397000"/>
            <a:ext cx="3635375" cy="4779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EF5E564C-1C39-4E0A-8A8C-A855C1988BD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099425" y="1397000"/>
            <a:ext cx="3635375" cy="4779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709583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3F771D-7E10-4FFE-B948-BFE76CF37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5591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5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CA6C2-9D60-45FF-9641-C2D96170897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57200" y="1396473"/>
            <a:ext cx="5537200" cy="2252964"/>
          </a:xfrm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D3143AB-9394-4B1D-9AD7-9DF0B2E4F9E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97602" y="1396473"/>
            <a:ext cx="5537200" cy="22526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509CF4F7-9D97-406F-82B7-FF24AA990C4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57200" y="3864724"/>
            <a:ext cx="5537200" cy="22526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9BE0B341-71E8-47CC-A829-8E7D98106D1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97600" y="3863975"/>
            <a:ext cx="5537200" cy="22526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222354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7C99ECC-8008-4DDC-B9AD-9F32F5DD1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6780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9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0A71401-5A22-4971-8A91-0DF6AFAF685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45968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186716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Closing P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771FDC6-8BC6-0B4E-B9C9-35D772F6311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extBox 1"/>
          <p:cNvSpPr txBox="1"/>
          <p:nvPr userDrawn="1"/>
        </p:nvSpPr>
        <p:spPr>
          <a:xfrm>
            <a:off x="2853723" y="2260705"/>
            <a:ext cx="64807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spc="600" dirty="0">
                <a:solidFill>
                  <a:schemeClr val="accent1"/>
                </a:solidFill>
              </a:rPr>
              <a:t>THANK Y</a:t>
            </a:r>
            <a:r>
              <a:rPr lang="en-US" sz="3600" b="1" spc="600" dirty="0">
                <a:solidFill>
                  <a:schemeClr val="accent2"/>
                </a:solidFill>
              </a:rPr>
              <a:t>O</a:t>
            </a:r>
            <a:r>
              <a:rPr lang="en-US" sz="3600" b="1" spc="600" dirty="0">
                <a:solidFill>
                  <a:schemeClr val="accent1"/>
                </a:solidFill>
              </a:rPr>
              <a:t>U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A19C623-787A-B949-A7A0-557749088B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4640574" y="3813745"/>
            <a:ext cx="2882900" cy="11049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DBDFCD3-5876-8146-B9D6-2E4E1763D99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28" y="6156648"/>
            <a:ext cx="12192000" cy="701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75201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23EC3B2-3C94-AB43-BABA-3E7F81EC80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7B145A7-75EE-4F11-BF97-034BB33819C5}"/>
              </a:ext>
            </a:extLst>
          </p:cNvPr>
          <p:cNvGrpSpPr/>
          <p:nvPr userDrawn="1"/>
        </p:nvGrpSpPr>
        <p:grpSpPr>
          <a:xfrm>
            <a:off x="1572981" y="1562638"/>
            <a:ext cx="1575487" cy="1506738"/>
            <a:chOff x="244513" y="1467748"/>
            <a:chExt cx="1575487" cy="1506738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9B3CDF35-2C7F-48A3-A1E4-CD983E6B41D6}"/>
                </a:ext>
              </a:extLst>
            </p:cNvPr>
            <p:cNvSpPr/>
            <p:nvPr userDrawn="1"/>
          </p:nvSpPr>
          <p:spPr>
            <a:xfrm>
              <a:off x="244513" y="14677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332E1212-C2CF-4DFC-8156-3DA09EE98195}"/>
                </a:ext>
              </a:extLst>
            </p:cNvPr>
            <p:cNvSpPr/>
            <p:nvPr userDrawn="1"/>
          </p:nvSpPr>
          <p:spPr>
            <a:xfrm>
              <a:off x="244513" y="1467748"/>
              <a:ext cx="271337" cy="15067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577E966-3097-4B53-8F68-04193B1751AB}"/>
                </a:ext>
              </a:extLst>
            </p:cNvPr>
            <p:cNvSpPr/>
            <p:nvPr userDrawn="1"/>
          </p:nvSpPr>
          <p:spPr>
            <a:xfrm>
              <a:off x="547107" y="17022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 dirty="0">
                  <a:solidFill>
                    <a:schemeClr val="accent1"/>
                  </a:solidFill>
                </a:rPr>
                <a:t>R:  </a:t>
              </a:r>
              <a:r>
                <a:rPr lang="en-US" sz="2000" dirty="0">
                  <a:solidFill>
                    <a:schemeClr val="accent1"/>
                  </a:solidFill>
                </a:rPr>
                <a:t>49</a:t>
              </a:r>
              <a:endParaRPr lang="en-US" sz="2000" b="1" dirty="0">
                <a:solidFill>
                  <a:schemeClr val="accent1"/>
                </a:solidFill>
              </a:endParaRPr>
            </a:p>
            <a:p>
              <a:r>
                <a:rPr lang="en-US" sz="2000" b="1" dirty="0">
                  <a:solidFill>
                    <a:schemeClr val="accent1"/>
                  </a:solidFill>
                </a:rPr>
                <a:t>G: </a:t>
              </a:r>
              <a:r>
                <a:rPr lang="en-US" sz="2000" dirty="0">
                  <a:solidFill>
                    <a:schemeClr val="accent1"/>
                  </a:solidFill>
                </a:rPr>
                <a:t>   0</a:t>
              </a:r>
            </a:p>
            <a:p>
              <a:r>
                <a:rPr lang="en-US" sz="2000" b="1" dirty="0">
                  <a:solidFill>
                    <a:schemeClr val="accent1"/>
                  </a:solidFill>
                </a:rPr>
                <a:t>B:  </a:t>
              </a:r>
              <a:r>
                <a:rPr lang="en-US" sz="2000" dirty="0">
                  <a:solidFill>
                    <a:schemeClr val="accent1"/>
                  </a:solidFill>
                </a:rPr>
                <a:t>111</a:t>
              </a:r>
              <a:endParaRPr lang="en-GB" sz="2000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4BE939B9-73E3-4430-82CF-958BB66773A0}"/>
              </a:ext>
            </a:extLst>
          </p:cNvPr>
          <p:cNvGrpSpPr/>
          <p:nvPr userDrawn="1"/>
        </p:nvGrpSpPr>
        <p:grpSpPr>
          <a:xfrm>
            <a:off x="3222996" y="1574087"/>
            <a:ext cx="1575487" cy="1506738"/>
            <a:chOff x="2187613" y="1467748"/>
            <a:chExt cx="1575487" cy="1506738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F6247E0-F15F-40D9-910D-E8F79F0EEEE6}"/>
                </a:ext>
              </a:extLst>
            </p:cNvPr>
            <p:cNvSpPr/>
            <p:nvPr userDrawn="1"/>
          </p:nvSpPr>
          <p:spPr>
            <a:xfrm>
              <a:off x="2187613" y="14677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C104F7E-07E5-4B53-ACB5-CECE5F228368}"/>
                </a:ext>
              </a:extLst>
            </p:cNvPr>
            <p:cNvSpPr/>
            <p:nvPr userDrawn="1"/>
          </p:nvSpPr>
          <p:spPr>
            <a:xfrm>
              <a:off x="2187613" y="1467748"/>
              <a:ext cx="271337" cy="150673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D2970A9-0CD5-4495-A494-F26453C14F79}"/>
                </a:ext>
              </a:extLst>
            </p:cNvPr>
            <p:cNvSpPr/>
            <p:nvPr userDrawn="1"/>
          </p:nvSpPr>
          <p:spPr>
            <a:xfrm>
              <a:off x="2490207" y="17022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 dirty="0">
                  <a:solidFill>
                    <a:schemeClr val="accent2"/>
                  </a:solidFill>
                </a:rPr>
                <a:t>R: </a:t>
              </a:r>
              <a:r>
                <a:rPr lang="en-US" sz="2000" dirty="0">
                  <a:solidFill>
                    <a:schemeClr val="accent2"/>
                  </a:solidFill>
                </a:rPr>
                <a:t>149</a:t>
              </a:r>
              <a:endParaRPr lang="en-US" sz="2000" b="1" dirty="0">
                <a:solidFill>
                  <a:schemeClr val="accent2"/>
                </a:solidFill>
              </a:endParaRPr>
            </a:p>
            <a:p>
              <a:r>
                <a:rPr lang="en-US" sz="2000" b="1" dirty="0">
                  <a:solidFill>
                    <a:schemeClr val="accent2"/>
                  </a:solidFill>
                </a:rPr>
                <a:t>G: </a:t>
              </a:r>
              <a:r>
                <a:rPr lang="en-US" sz="2000" dirty="0">
                  <a:solidFill>
                    <a:schemeClr val="accent2"/>
                  </a:solidFill>
                </a:rPr>
                <a:t>121</a:t>
              </a:r>
            </a:p>
            <a:p>
              <a:r>
                <a:rPr lang="en-US" sz="2000" b="1" dirty="0">
                  <a:solidFill>
                    <a:schemeClr val="accent2"/>
                  </a:solidFill>
                </a:rPr>
                <a:t>B: </a:t>
              </a:r>
              <a:r>
                <a:rPr lang="en-US" sz="2000" dirty="0">
                  <a:solidFill>
                    <a:schemeClr val="accent2"/>
                  </a:solidFill>
                </a:rPr>
                <a:t>211</a:t>
              </a:r>
              <a:endParaRPr lang="en-GB" sz="2000" dirty="0">
                <a:solidFill>
                  <a:schemeClr val="accent2"/>
                </a:solidFill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7911776-63A9-4D3B-89AC-1ADF77FCD1BB}"/>
              </a:ext>
            </a:extLst>
          </p:cNvPr>
          <p:cNvGrpSpPr/>
          <p:nvPr userDrawn="1"/>
        </p:nvGrpSpPr>
        <p:grpSpPr>
          <a:xfrm>
            <a:off x="4885845" y="1562638"/>
            <a:ext cx="1580992" cy="1506738"/>
            <a:chOff x="4130713" y="1467748"/>
            <a:chExt cx="1580992" cy="1506738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D54F8EF-CC18-44A8-A072-805886AA7FDF}"/>
                </a:ext>
              </a:extLst>
            </p:cNvPr>
            <p:cNvSpPr/>
            <p:nvPr userDrawn="1"/>
          </p:nvSpPr>
          <p:spPr>
            <a:xfrm>
              <a:off x="4130713" y="14677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D808A8DA-617B-43D3-B936-119752D2BCF0}"/>
                </a:ext>
              </a:extLst>
            </p:cNvPr>
            <p:cNvSpPr/>
            <p:nvPr userDrawn="1"/>
          </p:nvSpPr>
          <p:spPr>
            <a:xfrm>
              <a:off x="4130713" y="1467748"/>
              <a:ext cx="271337" cy="150673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8A642E0-884D-45CC-85CA-ABBA5B643CBD}"/>
                </a:ext>
              </a:extLst>
            </p:cNvPr>
            <p:cNvSpPr/>
            <p:nvPr userDrawn="1"/>
          </p:nvSpPr>
          <p:spPr>
            <a:xfrm>
              <a:off x="4438812" y="17022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 dirty="0">
                  <a:solidFill>
                    <a:schemeClr val="accent3"/>
                  </a:solidFill>
                </a:rPr>
                <a:t>R: </a:t>
              </a:r>
              <a:r>
                <a:rPr lang="en-US" sz="2000" dirty="0">
                  <a:solidFill>
                    <a:schemeClr val="accent3"/>
                  </a:solidFill>
                </a:rPr>
                <a:t>236</a:t>
              </a:r>
              <a:endParaRPr lang="en-US" sz="2000" b="1" dirty="0">
                <a:solidFill>
                  <a:schemeClr val="accent3"/>
                </a:solidFill>
              </a:endParaRPr>
            </a:p>
            <a:p>
              <a:r>
                <a:rPr lang="en-US" sz="2000" b="1" dirty="0">
                  <a:solidFill>
                    <a:schemeClr val="accent3"/>
                  </a:solidFill>
                </a:rPr>
                <a:t>G:     </a:t>
              </a:r>
              <a:r>
                <a:rPr lang="en-US" sz="2000" dirty="0">
                  <a:solidFill>
                    <a:schemeClr val="accent3"/>
                  </a:solidFill>
                </a:rPr>
                <a:t>0</a:t>
              </a:r>
            </a:p>
            <a:p>
              <a:r>
                <a:rPr lang="en-US" sz="2000" b="1" dirty="0">
                  <a:solidFill>
                    <a:schemeClr val="accent3"/>
                  </a:solidFill>
                </a:rPr>
                <a:t>B: </a:t>
              </a:r>
              <a:r>
                <a:rPr lang="en-US" sz="2000" dirty="0">
                  <a:solidFill>
                    <a:schemeClr val="accent3"/>
                  </a:solidFill>
                </a:rPr>
                <a:t>140</a:t>
              </a:r>
              <a:endParaRPr lang="en-GB" sz="2000" dirty="0">
                <a:solidFill>
                  <a:schemeClr val="accent3"/>
                </a:solidFill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73C5663-DC30-4CCA-A9FB-140A68749BA3}"/>
              </a:ext>
            </a:extLst>
          </p:cNvPr>
          <p:cNvGrpSpPr/>
          <p:nvPr userDrawn="1"/>
        </p:nvGrpSpPr>
        <p:grpSpPr>
          <a:xfrm>
            <a:off x="6588656" y="1569541"/>
            <a:ext cx="1575487" cy="1506738"/>
            <a:chOff x="6073813" y="1467748"/>
            <a:chExt cx="1575487" cy="1506738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972840A-2AA9-4D67-8EA7-512A00150F4A}"/>
                </a:ext>
              </a:extLst>
            </p:cNvPr>
            <p:cNvSpPr/>
            <p:nvPr userDrawn="1"/>
          </p:nvSpPr>
          <p:spPr>
            <a:xfrm>
              <a:off x="6073813" y="14677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B19F363B-E5BF-4969-B73E-D36574E633E7}"/>
                </a:ext>
              </a:extLst>
            </p:cNvPr>
            <p:cNvSpPr/>
            <p:nvPr userDrawn="1"/>
          </p:nvSpPr>
          <p:spPr>
            <a:xfrm>
              <a:off x="6073813" y="1467748"/>
              <a:ext cx="271337" cy="150673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C224032-AF76-4370-B7BC-849C99A732FF}"/>
                </a:ext>
              </a:extLst>
            </p:cNvPr>
            <p:cNvSpPr/>
            <p:nvPr userDrawn="1"/>
          </p:nvSpPr>
          <p:spPr>
            <a:xfrm>
              <a:off x="6376407" y="17022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 dirty="0">
                  <a:solidFill>
                    <a:schemeClr val="accent4"/>
                  </a:solidFill>
                </a:rPr>
                <a:t>R: </a:t>
              </a:r>
              <a:r>
                <a:rPr lang="en-US" sz="2000" dirty="0">
                  <a:solidFill>
                    <a:schemeClr val="accent4"/>
                  </a:solidFill>
                </a:rPr>
                <a:t>124</a:t>
              </a:r>
              <a:endParaRPr lang="en-US" sz="2000" b="1" dirty="0">
                <a:solidFill>
                  <a:schemeClr val="accent4"/>
                </a:solidFill>
              </a:endParaRPr>
            </a:p>
            <a:p>
              <a:r>
                <a:rPr lang="en-US" sz="2000" b="1" dirty="0">
                  <a:solidFill>
                    <a:schemeClr val="accent4"/>
                  </a:solidFill>
                </a:rPr>
                <a:t>G: </a:t>
              </a:r>
              <a:r>
                <a:rPr lang="en-US" sz="2000" dirty="0">
                  <a:solidFill>
                    <a:schemeClr val="accent4"/>
                  </a:solidFill>
                </a:rPr>
                <a:t>119</a:t>
              </a:r>
            </a:p>
            <a:p>
              <a:r>
                <a:rPr lang="en-US" sz="2000" b="1" dirty="0">
                  <a:solidFill>
                    <a:schemeClr val="accent4"/>
                  </a:solidFill>
                </a:rPr>
                <a:t>B: </a:t>
              </a:r>
              <a:r>
                <a:rPr lang="en-US" sz="2000" dirty="0">
                  <a:solidFill>
                    <a:schemeClr val="accent4"/>
                  </a:solidFill>
                </a:rPr>
                <a:t>173</a:t>
              </a:r>
              <a:endParaRPr lang="en-GB" sz="2000" dirty="0">
                <a:solidFill>
                  <a:schemeClr val="accent4"/>
                </a:solidFill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F00F8E3-4464-4015-99A3-BD376BF792BC}"/>
              </a:ext>
            </a:extLst>
          </p:cNvPr>
          <p:cNvGrpSpPr/>
          <p:nvPr userDrawn="1"/>
        </p:nvGrpSpPr>
        <p:grpSpPr>
          <a:xfrm>
            <a:off x="1572981" y="3505738"/>
            <a:ext cx="1575487" cy="1506738"/>
            <a:chOff x="244513" y="3410848"/>
            <a:chExt cx="1575487" cy="1506738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2DF4DB86-EDCA-4645-B506-BB531AD878BD}"/>
                </a:ext>
              </a:extLst>
            </p:cNvPr>
            <p:cNvSpPr/>
            <p:nvPr userDrawn="1"/>
          </p:nvSpPr>
          <p:spPr>
            <a:xfrm>
              <a:off x="244513" y="34108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42D73B5-7563-4566-802C-029A9ED9B3A0}"/>
                </a:ext>
              </a:extLst>
            </p:cNvPr>
            <p:cNvSpPr/>
            <p:nvPr userDrawn="1"/>
          </p:nvSpPr>
          <p:spPr>
            <a:xfrm>
              <a:off x="244513" y="3410848"/>
              <a:ext cx="271337" cy="15067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2D60A10-C6BA-49F3-8722-15D158CFEA67}"/>
                </a:ext>
              </a:extLst>
            </p:cNvPr>
            <p:cNvSpPr/>
            <p:nvPr userDrawn="1"/>
          </p:nvSpPr>
          <p:spPr>
            <a:xfrm>
              <a:off x="547107" y="36453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 dirty="0">
                  <a:solidFill>
                    <a:schemeClr val="accent5"/>
                  </a:solidFill>
                </a:rPr>
                <a:t>R: </a:t>
              </a:r>
              <a:r>
                <a:rPr lang="en-US" sz="2000" dirty="0">
                  <a:solidFill>
                    <a:schemeClr val="accent5"/>
                  </a:solidFill>
                </a:rPr>
                <a:t>    0</a:t>
              </a:r>
              <a:endParaRPr lang="en-US" sz="2000" b="1" dirty="0">
                <a:solidFill>
                  <a:schemeClr val="accent5"/>
                </a:solidFill>
              </a:endParaRPr>
            </a:p>
            <a:p>
              <a:r>
                <a:rPr lang="en-US" sz="2000" b="1" dirty="0">
                  <a:solidFill>
                    <a:schemeClr val="accent5"/>
                  </a:solidFill>
                </a:rPr>
                <a:t>G: </a:t>
              </a:r>
              <a:r>
                <a:rPr lang="en-US" sz="2000" dirty="0">
                  <a:solidFill>
                    <a:schemeClr val="accent5"/>
                  </a:solidFill>
                </a:rPr>
                <a:t>174</a:t>
              </a:r>
            </a:p>
            <a:p>
              <a:r>
                <a:rPr lang="en-US" sz="2000" b="1" dirty="0">
                  <a:solidFill>
                    <a:schemeClr val="accent5"/>
                  </a:solidFill>
                </a:rPr>
                <a:t>B: </a:t>
              </a:r>
              <a:r>
                <a:rPr lang="en-US" sz="2000" dirty="0">
                  <a:solidFill>
                    <a:schemeClr val="accent5"/>
                  </a:solidFill>
                </a:rPr>
                <a:t>239</a:t>
              </a:r>
              <a:endParaRPr lang="en-GB" sz="2000" dirty="0">
                <a:solidFill>
                  <a:schemeClr val="accent5"/>
                </a:solidFill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B492832-5935-497E-B336-DA13045E9B8B}"/>
              </a:ext>
            </a:extLst>
          </p:cNvPr>
          <p:cNvGrpSpPr/>
          <p:nvPr userDrawn="1"/>
        </p:nvGrpSpPr>
        <p:grpSpPr>
          <a:xfrm>
            <a:off x="3233867" y="3505738"/>
            <a:ext cx="1575487" cy="1506738"/>
            <a:chOff x="2187613" y="3410848"/>
            <a:chExt cx="1575487" cy="1506738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993C6EAD-61A7-443F-BCCC-631E7B817387}"/>
                </a:ext>
              </a:extLst>
            </p:cNvPr>
            <p:cNvSpPr/>
            <p:nvPr userDrawn="1"/>
          </p:nvSpPr>
          <p:spPr>
            <a:xfrm>
              <a:off x="2187613" y="34108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4239E46F-3812-4888-B58F-B7470EAAF930}"/>
                </a:ext>
              </a:extLst>
            </p:cNvPr>
            <p:cNvSpPr/>
            <p:nvPr userDrawn="1"/>
          </p:nvSpPr>
          <p:spPr>
            <a:xfrm>
              <a:off x="2187613" y="3410848"/>
              <a:ext cx="271337" cy="150673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A472EA63-2191-4100-AA6E-A12B4109B10C}"/>
                </a:ext>
              </a:extLst>
            </p:cNvPr>
            <p:cNvSpPr/>
            <p:nvPr userDrawn="1"/>
          </p:nvSpPr>
          <p:spPr>
            <a:xfrm>
              <a:off x="2490207" y="36453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 dirty="0">
                  <a:solidFill>
                    <a:schemeClr val="accent6"/>
                  </a:solidFill>
                </a:rPr>
                <a:t>R:    </a:t>
              </a:r>
              <a:r>
                <a:rPr lang="en-US" sz="2000" dirty="0">
                  <a:solidFill>
                    <a:schemeClr val="accent6"/>
                  </a:solidFill>
                </a:rPr>
                <a:t>19</a:t>
              </a:r>
              <a:endParaRPr lang="en-US" sz="2000" b="1" dirty="0">
                <a:solidFill>
                  <a:schemeClr val="accent6"/>
                </a:solidFill>
              </a:endParaRPr>
            </a:p>
            <a:p>
              <a:r>
                <a:rPr lang="en-US" sz="2000" b="1" dirty="0">
                  <a:solidFill>
                    <a:schemeClr val="accent6"/>
                  </a:solidFill>
                </a:rPr>
                <a:t>G: </a:t>
              </a:r>
              <a:r>
                <a:rPr lang="en-US" sz="2000" dirty="0">
                  <a:solidFill>
                    <a:schemeClr val="accent6"/>
                  </a:solidFill>
                </a:rPr>
                <a:t>208</a:t>
              </a:r>
            </a:p>
            <a:p>
              <a:r>
                <a:rPr lang="en-US" sz="2000" b="1" dirty="0">
                  <a:solidFill>
                    <a:schemeClr val="accent6"/>
                  </a:solidFill>
                </a:rPr>
                <a:t>B: </a:t>
              </a:r>
              <a:r>
                <a:rPr lang="en-US" sz="2000" dirty="0">
                  <a:solidFill>
                    <a:schemeClr val="accent6"/>
                  </a:solidFill>
                </a:rPr>
                <a:t>202</a:t>
              </a:r>
              <a:endParaRPr lang="en-GB" sz="2000" dirty="0">
                <a:solidFill>
                  <a:schemeClr val="accent6"/>
                </a:solidFill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FE020BAA-1E59-455E-B3D3-4353550A08D8}"/>
              </a:ext>
            </a:extLst>
          </p:cNvPr>
          <p:cNvGrpSpPr/>
          <p:nvPr userDrawn="1"/>
        </p:nvGrpSpPr>
        <p:grpSpPr>
          <a:xfrm>
            <a:off x="4889027" y="3511500"/>
            <a:ext cx="1576056" cy="1506738"/>
            <a:chOff x="4130713" y="3410848"/>
            <a:chExt cx="1576056" cy="1506738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796963C4-8749-4E8D-BC37-40279BDD4455}"/>
                </a:ext>
              </a:extLst>
            </p:cNvPr>
            <p:cNvSpPr/>
            <p:nvPr userDrawn="1"/>
          </p:nvSpPr>
          <p:spPr>
            <a:xfrm>
              <a:off x="4130713" y="34108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AB99013-035F-44F7-AE8A-93E0D20B29DF}"/>
                </a:ext>
              </a:extLst>
            </p:cNvPr>
            <p:cNvSpPr/>
            <p:nvPr userDrawn="1"/>
          </p:nvSpPr>
          <p:spPr>
            <a:xfrm>
              <a:off x="4130713" y="3410848"/>
              <a:ext cx="271337" cy="15067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30864290-9748-4E49-8F0E-944C131F13A3}"/>
                </a:ext>
              </a:extLst>
            </p:cNvPr>
            <p:cNvSpPr/>
            <p:nvPr userDrawn="1"/>
          </p:nvSpPr>
          <p:spPr>
            <a:xfrm>
              <a:off x="4438812" y="3645326"/>
              <a:ext cx="1267957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 dirty="0">
                  <a:solidFill>
                    <a:schemeClr val="bg2"/>
                  </a:solidFill>
                </a:rPr>
                <a:t>R: </a:t>
              </a:r>
              <a:r>
                <a:rPr lang="en-US" sz="2000" dirty="0">
                  <a:solidFill>
                    <a:schemeClr val="bg2"/>
                  </a:solidFill>
                </a:rPr>
                <a:t>163</a:t>
              </a:r>
              <a:endParaRPr lang="en-US" sz="2000" b="1" dirty="0">
                <a:solidFill>
                  <a:schemeClr val="bg2"/>
                </a:solidFill>
              </a:endParaRPr>
            </a:p>
            <a:p>
              <a:r>
                <a:rPr lang="en-US" sz="2000" b="1" dirty="0">
                  <a:solidFill>
                    <a:schemeClr val="bg2"/>
                  </a:solidFill>
                </a:rPr>
                <a:t>G: </a:t>
              </a:r>
              <a:r>
                <a:rPr lang="en-US" sz="2000" dirty="0">
                  <a:solidFill>
                    <a:schemeClr val="bg2"/>
                  </a:solidFill>
                </a:rPr>
                <a:t>213</a:t>
              </a:r>
            </a:p>
            <a:p>
              <a:r>
                <a:rPr lang="en-US" sz="2000" b="1" dirty="0">
                  <a:solidFill>
                    <a:schemeClr val="bg2"/>
                  </a:solidFill>
                </a:rPr>
                <a:t>B:</a:t>
              </a:r>
              <a:r>
                <a:rPr lang="en-US" sz="2000" dirty="0">
                  <a:solidFill>
                    <a:schemeClr val="bg2"/>
                  </a:solidFill>
                </a:rPr>
                <a:t>  95</a:t>
              </a:r>
              <a:endParaRPr lang="en-GB" sz="2000" dirty="0">
                <a:solidFill>
                  <a:schemeClr val="bg2"/>
                </a:solidFill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B6140ACE-B460-4349-872C-34899E28A64E}"/>
              </a:ext>
            </a:extLst>
          </p:cNvPr>
          <p:cNvGrpSpPr/>
          <p:nvPr userDrawn="1"/>
        </p:nvGrpSpPr>
        <p:grpSpPr>
          <a:xfrm>
            <a:off x="6588656" y="3511500"/>
            <a:ext cx="1575487" cy="1506738"/>
            <a:chOff x="6073813" y="3410848"/>
            <a:chExt cx="1575487" cy="1506738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9306F77D-D704-4FA6-872B-3333B96ADE7B}"/>
                </a:ext>
              </a:extLst>
            </p:cNvPr>
            <p:cNvSpPr/>
            <p:nvPr userDrawn="1"/>
          </p:nvSpPr>
          <p:spPr>
            <a:xfrm>
              <a:off x="6073813" y="34108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70AFDA5-A6F2-47C4-B8A4-56B9315DD009}"/>
                </a:ext>
              </a:extLst>
            </p:cNvPr>
            <p:cNvSpPr/>
            <p:nvPr userDrawn="1"/>
          </p:nvSpPr>
          <p:spPr>
            <a:xfrm>
              <a:off x="6073813" y="3410848"/>
              <a:ext cx="271337" cy="150673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7CA3D72C-55EB-4B77-B096-1D3DCC8E4CCA}"/>
                </a:ext>
              </a:extLst>
            </p:cNvPr>
            <p:cNvSpPr/>
            <p:nvPr userDrawn="1"/>
          </p:nvSpPr>
          <p:spPr>
            <a:xfrm>
              <a:off x="6376407" y="36453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 dirty="0">
                  <a:solidFill>
                    <a:schemeClr val="tx2"/>
                  </a:solidFill>
                </a:rPr>
                <a:t>R: </a:t>
              </a:r>
              <a:r>
                <a:rPr lang="en-US" sz="2000" dirty="0">
                  <a:solidFill>
                    <a:schemeClr val="tx2"/>
                  </a:solidFill>
                </a:rPr>
                <a:t>249</a:t>
              </a:r>
              <a:endParaRPr lang="en-US" sz="2000" b="1" dirty="0">
                <a:solidFill>
                  <a:schemeClr val="tx2"/>
                </a:solidFill>
              </a:endParaRPr>
            </a:p>
            <a:p>
              <a:r>
                <a:rPr lang="en-US" sz="2000" b="1" dirty="0">
                  <a:solidFill>
                    <a:schemeClr val="tx2"/>
                  </a:solidFill>
                </a:rPr>
                <a:t>G:  </a:t>
              </a:r>
              <a:r>
                <a:rPr lang="en-US" sz="2000" dirty="0">
                  <a:solidFill>
                    <a:schemeClr val="tx2"/>
                  </a:solidFill>
                </a:rPr>
                <a:t>142</a:t>
              </a:r>
            </a:p>
            <a:p>
              <a:r>
                <a:rPr lang="en-US" sz="2000" b="1" dirty="0">
                  <a:solidFill>
                    <a:schemeClr val="tx2"/>
                  </a:solidFill>
                </a:rPr>
                <a:t>B:   </a:t>
              </a:r>
              <a:r>
                <a:rPr lang="en-US" sz="2000" dirty="0">
                  <a:solidFill>
                    <a:schemeClr val="tx2"/>
                  </a:solidFill>
                </a:rPr>
                <a:t>43</a:t>
              </a:r>
              <a:endParaRPr lang="en-GB" sz="2000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025B23C-91B2-460B-BA71-EAA84B6F1C43}"/>
              </a:ext>
            </a:extLst>
          </p:cNvPr>
          <p:cNvGrpSpPr/>
          <p:nvPr userDrawn="1"/>
        </p:nvGrpSpPr>
        <p:grpSpPr>
          <a:xfrm>
            <a:off x="8577940" y="1562638"/>
            <a:ext cx="1575487" cy="1506738"/>
            <a:chOff x="8453785" y="1467748"/>
            <a:chExt cx="1575487" cy="1506738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9E228BC0-5D30-4FDC-AB65-87E0D4931686}"/>
                </a:ext>
              </a:extLst>
            </p:cNvPr>
            <p:cNvSpPr/>
            <p:nvPr userDrawn="1"/>
          </p:nvSpPr>
          <p:spPr>
            <a:xfrm>
              <a:off x="8453785" y="14677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184F0793-6A82-4A4D-9376-99C8D22189B7}"/>
                </a:ext>
              </a:extLst>
            </p:cNvPr>
            <p:cNvSpPr/>
            <p:nvPr userDrawn="1"/>
          </p:nvSpPr>
          <p:spPr>
            <a:xfrm>
              <a:off x="8453785" y="1467748"/>
              <a:ext cx="271337" cy="1506738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32BCCBD0-6DD1-4513-8B29-A022C21A117B}"/>
                </a:ext>
              </a:extLst>
            </p:cNvPr>
            <p:cNvSpPr/>
            <p:nvPr userDrawn="1"/>
          </p:nvSpPr>
          <p:spPr>
            <a:xfrm>
              <a:off x="8756379" y="17022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 dirty="0">
                  <a:solidFill>
                    <a:srgbClr val="00B050"/>
                  </a:solidFill>
                </a:rPr>
                <a:t>R: </a:t>
              </a:r>
              <a:r>
                <a:rPr lang="en-US" sz="2000" dirty="0">
                  <a:solidFill>
                    <a:srgbClr val="00B050"/>
                  </a:solidFill>
                </a:rPr>
                <a:t>    0</a:t>
              </a:r>
              <a:endParaRPr lang="en-US" sz="2000" b="1" dirty="0">
                <a:solidFill>
                  <a:srgbClr val="00B050"/>
                </a:solidFill>
              </a:endParaRPr>
            </a:p>
            <a:p>
              <a:r>
                <a:rPr lang="en-US" sz="2000" b="1" dirty="0">
                  <a:solidFill>
                    <a:srgbClr val="00B050"/>
                  </a:solidFill>
                </a:rPr>
                <a:t>G: </a:t>
              </a:r>
              <a:r>
                <a:rPr lang="en-US" sz="2000" dirty="0">
                  <a:solidFill>
                    <a:srgbClr val="00B050"/>
                  </a:solidFill>
                </a:rPr>
                <a:t>176</a:t>
              </a:r>
            </a:p>
            <a:p>
              <a:r>
                <a:rPr lang="en-US" sz="2000" b="1" dirty="0">
                  <a:solidFill>
                    <a:srgbClr val="00B050"/>
                  </a:solidFill>
                </a:rPr>
                <a:t>B: </a:t>
              </a:r>
              <a:r>
                <a:rPr lang="en-US" sz="2000" dirty="0">
                  <a:solidFill>
                    <a:srgbClr val="00B050"/>
                  </a:solidFill>
                </a:rPr>
                <a:t>  80</a:t>
              </a:r>
              <a:endParaRPr lang="en-GB" sz="2000" dirty="0">
                <a:solidFill>
                  <a:srgbClr val="00B050"/>
                </a:solidFill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FA1382E6-7C42-44F3-B22B-2D230A13DFFE}"/>
              </a:ext>
            </a:extLst>
          </p:cNvPr>
          <p:cNvGrpSpPr/>
          <p:nvPr userDrawn="1"/>
        </p:nvGrpSpPr>
        <p:grpSpPr>
          <a:xfrm>
            <a:off x="8578725" y="3505738"/>
            <a:ext cx="1575487" cy="1506738"/>
            <a:chOff x="8453785" y="3410848"/>
            <a:chExt cx="1575487" cy="1506738"/>
          </a:xfrm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3FB98707-E916-479A-A43A-69584E910117}"/>
                </a:ext>
              </a:extLst>
            </p:cNvPr>
            <p:cNvSpPr/>
            <p:nvPr userDrawn="1"/>
          </p:nvSpPr>
          <p:spPr>
            <a:xfrm>
              <a:off x="8453785" y="34108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9D1ABF3D-4C45-404A-B4D6-F6CB5360FEAD}"/>
                </a:ext>
              </a:extLst>
            </p:cNvPr>
            <p:cNvSpPr/>
            <p:nvPr userDrawn="1"/>
          </p:nvSpPr>
          <p:spPr>
            <a:xfrm>
              <a:off x="8453785" y="3410848"/>
              <a:ext cx="271337" cy="150673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07A3DF49-573E-4ECE-B7A0-93AFF46D9BE1}"/>
                </a:ext>
              </a:extLst>
            </p:cNvPr>
            <p:cNvSpPr/>
            <p:nvPr userDrawn="1"/>
          </p:nvSpPr>
          <p:spPr>
            <a:xfrm>
              <a:off x="8756379" y="36453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 dirty="0">
                  <a:solidFill>
                    <a:srgbClr val="C00000"/>
                  </a:solidFill>
                </a:rPr>
                <a:t>R:  </a:t>
              </a:r>
              <a:r>
                <a:rPr lang="en-US" sz="2000" dirty="0">
                  <a:solidFill>
                    <a:srgbClr val="C00000"/>
                  </a:solidFill>
                </a:rPr>
                <a:t>192</a:t>
              </a:r>
              <a:endParaRPr lang="en-US" sz="2000" b="1" dirty="0">
                <a:solidFill>
                  <a:srgbClr val="C00000"/>
                </a:solidFill>
              </a:endParaRPr>
            </a:p>
            <a:p>
              <a:r>
                <a:rPr lang="en-US" sz="2000" b="1" dirty="0">
                  <a:solidFill>
                    <a:srgbClr val="C00000"/>
                  </a:solidFill>
                </a:rPr>
                <a:t>G:     </a:t>
              </a:r>
              <a:r>
                <a:rPr lang="en-US" sz="2000" dirty="0">
                  <a:solidFill>
                    <a:srgbClr val="C00000"/>
                  </a:solidFill>
                </a:rPr>
                <a:t>0</a:t>
              </a:r>
            </a:p>
            <a:p>
              <a:r>
                <a:rPr lang="en-US" sz="2000" b="1" dirty="0">
                  <a:solidFill>
                    <a:srgbClr val="C00000"/>
                  </a:solidFill>
                </a:rPr>
                <a:t>B:     </a:t>
              </a:r>
              <a:r>
                <a:rPr lang="en-US" sz="2000" dirty="0">
                  <a:solidFill>
                    <a:srgbClr val="C00000"/>
                  </a:solidFill>
                </a:rPr>
                <a:t>0</a:t>
              </a:r>
              <a:endParaRPr lang="en-GB" sz="2000" dirty="0">
                <a:solidFill>
                  <a:srgbClr val="C00000"/>
                </a:solidFill>
              </a:endParaRPr>
            </a:p>
          </p:txBody>
        </p: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A71857C3-86E8-4411-9A2F-6A59B24C55AC}"/>
              </a:ext>
            </a:extLst>
          </p:cNvPr>
          <p:cNvSpPr/>
          <p:nvPr userDrawn="1"/>
        </p:nvSpPr>
        <p:spPr>
          <a:xfrm>
            <a:off x="1572982" y="5341920"/>
            <a:ext cx="4857094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1F4BF4B4-45DF-4FED-9D33-6B9743E77486}"/>
              </a:ext>
            </a:extLst>
          </p:cNvPr>
          <p:cNvSpPr/>
          <p:nvPr userDrawn="1"/>
        </p:nvSpPr>
        <p:spPr>
          <a:xfrm>
            <a:off x="6588656" y="5341920"/>
            <a:ext cx="1544231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2EAC132A-B074-419D-AE7E-855DEAB8B75B}"/>
              </a:ext>
            </a:extLst>
          </p:cNvPr>
          <p:cNvSpPr/>
          <p:nvPr userDrawn="1"/>
        </p:nvSpPr>
        <p:spPr>
          <a:xfrm>
            <a:off x="1572981" y="1399680"/>
            <a:ext cx="6559905" cy="748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2485C32A-D39A-45F5-A4FD-620728F8800C}"/>
              </a:ext>
            </a:extLst>
          </p:cNvPr>
          <p:cNvSpPr/>
          <p:nvPr userDrawn="1"/>
        </p:nvSpPr>
        <p:spPr>
          <a:xfrm>
            <a:off x="8577939" y="5341920"/>
            <a:ext cx="1544231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5EA091F-E5A3-44B9-A404-0A278BE74703}"/>
              </a:ext>
            </a:extLst>
          </p:cNvPr>
          <p:cNvSpPr/>
          <p:nvPr userDrawn="1"/>
        </p:nvSpPr>
        <p:spPr>
          <a:xfrm>
            <a:off x="8577940" y="1401027"/>
            <a:ext cx="1527906" cy="7354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174373C8-79B4-4741-8466-43D8ABA86F42}"/>
              </a:ext>
            </a:extLst>
          </p:cNvPr>
          <p:cNvSpPr/>
          <p:nvPr userDrawn="1"/>
        </p:nvSpPr>
        <p:spPr>
          <a:xfrm>
            <a:off x="1572981" y="872702"/>
            <a:ext cx="6559905" cy="461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 dirty="0">
                <a:solidFill>
                  <a:schemeClr val="accent1"/>
                </a:solidFill>
              </a:rPr>
              <a:t>Primary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77BDA55B-FDC5-40CE-A439-5B50B0205652}"/>
              </a:ext>
            </a:extLst>
          </p:cNvPr>
          <p:cNvSpPr/>
          <p:nvPr userDrawn="1"/>
        </p:nvSpPr>
        <p:spPr>
          <a:xfrm>
            <a:off x="1572981" y="5378162"/>
            <a:ext cx="4857094" cy="461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 dirty="0">
                <a:solidFill>
                  <a:schemeClr val="accent1"/>
                </a:solidFill>
              </a:rPr>
              <a:t>Secondary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B3A510B1-BDBC-4748-9F29-D2CDBA4DDE97}"/>
              </a:ext>
            </a:extLst>
          </p:cNvPr>
          <p:cNvSpPr/>
          <p:nvPr userDrawn="1"/>
        </p:nvSpPr>
        <p:spPr>
          <a:xfrm>
            <a:off x="6561932" y="5378162"/>
            <a:ext cx="1544231" cy="461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 dirty="0">
                <a:solidFill>
                  <a:schemeClr val="accent1"/>
                </a:solidFill>
              </a:rPr>
              <a:t>Highlight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FD5DDA09-29EB-41A1-AE9B-25054F06B58E}"/>
              </a:ext>
            </a:extLst>
          </p:cNvPr>
          <p:cNvSpPr/>
          <p:nvPr userDrawn="1"/>
        </p:nvSpPr>
        <p:spPr>
          <a:xfrm>
            <a:off x="8585338" y="5378162"/>
            <a:ext cx="1544231" cy="461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 dirty="0">
                <a:solidFill>
                  <a:schemeClr val="accent1"/>
                </a:solidFill>
              </a:rPr>
              <a:t>Negative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A5C32055-E6AD-463B-AAAC-F0BCD4D21618}"/>
              </a:ext>
            </a:extLst>
          </p:cNvPr>
          <p:cNvSpPr/>
          <p:nvPr userDrawn="1"/>
        </p:nvSpPr>
        <p:spPr>
          <a:xfrm>
            <a:off x="8578725" y="872702"/>
            <a:ext cx="1543445" cy="461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 dirty="0">
                <a:solidFill>
                  <a:schemeClr val="accent1"/>
                </a:solidFill>
              </a:rPr>
              <a:t>Positive</a:t>
            </a:r>
          </a:p>
        </p:txBody>
      </p:sp>
    </p:spTree>
    <p:extLst>
      <p:ext uri="{BB962C8B-B14F-4D97-AF65-F5344CB8AC3E}">
        <p14:creationId xmlns:p14="http://schemas.microsoft.com/office/powerpoint/2010/main" val="7714666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 animBg="1"/>
      <p:bldP spid="46" grpId="0" animBg="1"/>
      <p:bldP spid="47" grpId="0" animBg="1"/>
      <p:bldP spid="48" grpId="0" animBg="1"/>
      <p:bldP spid="49" grpId="0" animBg="1"/>
      <p:bldP spid="50" grpId="0"/>
      <p:bldP spid="51" grpId="0"/>
      <p:bldP spid="52" grpId="0"/>
      <p:bldP spid="53" grpId="0"/>
      <p:bldP spid="54" grpId="0"/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White_wClient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D1A30E-CBA3-45DE-BB3E-7AE44D403E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4616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7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7BB8C25-85DA-45C6-8597-77EC35B2ABA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50" b="0" i="0" baseline="0" dirty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8725" y="2295728"/>
            <a:ext cx="7072233" cy="1253627"/>
          </a:xfrm>
          <a:noFill/>
        </p:spPr>
        <p:txBody>
          <a:bodyPr anchor="b">
            <a:no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/>
              <a:t>Title Block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8725" y="3774310"/>
            <a:ext cx="7072233" cy="508228"/>
          </a:xfrm>
          <a:noFill/>
        </p:spPr>
        <p:txBody>
          <a:bodyPr/>
          <a:lstStyle>
            <a:lvl1pPr marL="0" indent="0" algn="l">
              <a:buNone/>
              <a:defRPr sz="1500">
                <a:solidFill>
                  <a:schemeClr val="accent2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786A517D-FDC2-6643-A914-F3E88D677EC1}"/>
              </a:ext>
            </a:extLst>
          </p:cNvPr>
          <p:cNvSpPr/>
          <p:nvPr userDrawn="1"/>
        </p:nvSpPr>
        <p:spPr>
          <a:xfrm>
            <a:off x="458725" y="5071705"/>
            <a:ext cx="3666188" cy="1081169"/>
          </a:xfrm>
          <a:prstGeom prst="roundRect">
            <a:avLst>
              <a:gd name="adj" fmla="val 8025"/>
            </a:avLst>
          </a:prstGeom>
          <a:solidFill>
            <a:schemeClr val="bg1"/>
          </a:solidFill>
          <a:ln>
            <a:solidFill>
              <a:srgbClr val="CACAC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0CC0BB4-62BF-FA49-BDDE-405F4A321B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0" y="331546"/>
            <a:ext cx="4161982" cy="160076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1419E95-EE2B-7844-BE20-3306CB2DBFC6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8462" y="69413"/>
            <a:ext cx="1535484" cy="8426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53521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64DAAD5-C2C5-4B95-9740-9BDDDA246172}"/>
              </a:ext>
            </a:extLst>
          </p:cNvPr>
          <p:cNvSpPr/>
          <p:nvPr userDrawn="1"/>
        </p:nvSpPr>
        <p:spPr>
          <a:xfrm flipV="1">
            <a:off x="0" y="-1288"/>
            <a:ext cx="12192000" cy="6858000"/>
          </a:xfrm>
          <a:custGeom>
            <a:avLst/>
            <a:gdLst>
              <a:gd name="connsiteX0" fmla="*/ 4892433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7999 h 6858000"/>
              <a:gd name="connsiteX3" fmla="*/ 7112000 w 12192000"/>
              <a:gd name="connsiteY3" fmla="*/ 6857999 h 6858000"/>
              <a:gd name="connsiteX4" fmla="*/ 6096000 w 12192000"/>
              <a:gd name="connsiteY4" fmla="*/ 6857999 h 6858000"/>
              <a:gd name="connsiteX5" fmla="*/ 5548505 w 12192000"/>
              <a:gd name="connsiteY5" fmla="*/ 6857999 h 6858000"/>
              <a:gd name="connsiteX6" fmla="*/ 5548504 w 12192000"/>
              <a:gd name="connsiteY6" fmla="*/ 6858000 h 6858000"/>
              <a:gd name="connsiteX7" fmla="*/ 0 w 12192000"/>
              <a:gd name="connsiteY7" fmla="*/ 6858000 h 6858000"/>
              <a:gd name="connsiteX8" fmla="*/ 0 w 12192000"/>
              <a:gd name="connsiteY8" fmla="*/ 4953304 h 6858000"/>
              <a:gd name="connsiteX9" fmla="*/ 236754 w 12192000"/>
              <a:gd name="connsiteY9" fmla="*/ 5130345 h 6858000"/>
              <a:gd name="connsiteX10" fmla="*/ 2193559 w 12192000"/>
              <a:gd name="connsiteY10" fmla="*/ 5728066 h 6858000"/>
              <a:gd name="connsiteX11" fmla="*/ 5693420 w 12192000"/>
              <a:gd name="connsiteY11" fmla="*/ 2228205 h 6858000"/>
              <a:gd name="connsiteX12" fmla="*/ 4894222 w 12192000"/>
              <a:gd name="connsiteY12" fmla="*/ 196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0" h="6858000">
                <a:moveTo>
                  <a:pt x="4892433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7112000" y="6857999"/>
                </a:lnTo>
                <a:lnTo>
                  <a:pt x="6096000" y="6857999"/>
                </a:lnTo>
                <a:lnTo>
                  <a:pt x="5548505" y="6857999"/>
                </a:lnTo>
                <a:lnTo>
                  <a:pt x="5548504" y="6858000"/>
                </a:lnTo>
                <a:lnTo>
                  <a:pt x="0" y="6858000"/>
                </a:lnTo>
                <a:lnTo>
                  <a:pt x="0" y="4953304"/>
                </a:lnTo>
                <a:lnTo>
                  <a:pt x="236754" y="5130345"/>
                </a:lnTo>
                <a:cubicBezTo>
                  <a:pt x="795335" y="5507715"/>
                  <a:pt x="1468714" y="5728066"/>
                  <a:pt x="2193559" y="5728066"/>
                </a:cubicBezTo>
                <a:cubicBezTo>
                  <a:pt x="4126479" y="5728066"/>
                  <a:pt x="5693420" y="4161125"/>
                  <a:pt x="5693420" y="2228205"/>
                </a:cubicBezTo>
                <a:cubicBezTo>
                  <a:pt x="5693420" y="1382553"/>
                  <a:pt x="5393498" y="606951"/>
                  <a:pt x="4894222" y="196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432" name="Circle: Hollow 431">
            <a:extLst>
              <a:ext uri="{FF2B5EF4-FFF2-40B4-BE49-F238E27FC236}">
                <a16:creationId xmlns:a16="http://schemas.microsoft.com/office/drawing/2014/main" id="{99728016-7034-4B32-8745-F6D2F9AAF4A3}"/>
              </a:ext>
            </a:extLst>
          </p:cNvPr>
          <p:cNvSpPr/>
          <p:nvPr userDrawn="1"/>
        </p:nvSpPr>
        <p:spPr>
          <a:xfrm flipV="1">
            <a:off x="-3190202" y="-719611"/>
            <a:ext cx="10738580" cy="10738578"/>
          </a:xfrm>
          <a:prstGeom prst="donut">
            <a:avLst>
              <a:gd name="adj" fmla="val 17386"/>
            </a:avLst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BC73C0-FD7C-49DF-B2BC-1222FCFC032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76284" y="519201"/>
            <a:ext cx="6679261" cy="1163955"/>
          </a:xfrm>
        </p:spPr>
        <p:txBody>
          <a:bodyPr lIns="36000" rIns="0" anchor="ctr">
            <a:noAutofit/>
          </a:bodyPr>
          <a:lstStyle>
            <a:lvl1pPr algn="r">
              <a:defRPr sz="3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Title Block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0F1A5B1-7950-41B4-A0A3-91FEE2C6B33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71853" y="1857502"/>
            <a:ext cx="4983692" cy="361054"/>
          </a:xfrm>
          <a:prstGeom prst="rect">
            <a:avLst/>
          </a:prstGeom>
        </p:spPr>
        <p:txBody>
          <a:bodyPr lIns="36000" rIns="0" anchor="ctr"/>
          <a:lstStyle>
            <a:lvl1pPr marL="0" indent="0" algn="r">
              <a:buNone/>
              <a:defRPr sz="2400" i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Insert Date</a:t>
            </a:r>
            <a:endParaRPr lang="en-GB" dirty="0"/>
          </a:p>
        </p:txBody>
      </p:sp>
      <p:sp>
        <p:nvSpPr>
          <p:cNvPr id="99" name="Circle: Hollow 98">
            <a:extLst>
              <a:ext uri="{FF2B5EF4-FFF2-40B4-BE49-F238E27FC236}">
                <a16:creationId xmlns:a16="http://schemas.microsoft.com/office/drawing/2014/main" id="{ACA7BEC7-3B68-4B03-84EE-953CE6D834E3}"/>
              </a:ext>
            </a:extLst>
          </p:cNvPr>
          <p:cNvSpPr/>
          <p:nvPr userDrawn="1"/>
        </p:nvSpPr>
        <p:spPr>
          <a:xfrm flipV="1">
            <a:off x="-3016981" y="-582034"/>
            <a:ext cx="10421082" cy="10421080"/>
          </a:xfrm>
          <a:prstGeom prst="donut">
            <a:avLst>
              <a:gd name="adj" fmla="val 16425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430" name="Circle: Hollow 429">
            <a:extLst>
              <a:ext uri="{FF2B5EF4-FFF2-40B4-BE49-F238E27FC236}">
                <a16:creationId xmlns:a16="http://schemas.microsoft.com/office/drawing/2014/main" id="{4FBE3FB6-1C75-477E-A1DD-DA5AC0C318E0}"/>
              </a:ext>
            </a:extLst>
          </p:cNvPr>
          <p:cNvSpPr/>
          <p:nvPr userDrawn="1"/>
        </p:nvSpPr>
        <p:spPr>
          <a:xfrm flipV="1">
            <a:off x="-1489805" y="945142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429" name="Freeform: Shape 428">
            <a:extLst>
              <a:ext uri="{FF2B5EF4-FFF2-40B4-BE49-F238E27FC236}">
                <a16:creationId xmlns:a16="http://schemas.microsoft.com/office/drawing/2014/main" id="{C2B1A486-EC5A-491C-9BB8-CCFAEEE9592B}"/>
              </a:ext>
            </a:extLst>
          </p:cNvPr>
          <p:cNvSpPr/>
          <p:nvPr/>
        </p:nvSpPr>
        <p:spPr>
          <a:xfrm>
            <a:off x="-3016981" y="-569731"/>
            <a:ext cx="10375356" cy="10394676"/>
          </a:xfrm>
          <a:custGeom>
            <a:avLst/>
            <a:gdLst>
              <a:gd name="connsiteX0" fmla="*/ 6202887 w 10375356"/>
              <a:gd name="connsiteY0" fmla="*/ 10086957 h 10394676"/>
              <a:gd name="connsiteX1" fmla="*/ 6713710 w 10375356"/>
              <a:gd name="connsiteY1" fmla="*/ 10086957 h 10394676"/>
              <a:gd name="connsiteX2" fmla="*/ 6713710 w 10375356"/>
              <a:gd name="connsiteY2" fmla="*/ 10187665 h 10394676"/>
              <a:gd name="connsiteX3" fmla="*/ 6709472 w 10375356"/>
              <a:gd name="connsiteY3" fmla="*/ 10188869 h 10394676"/>
              <a:gd name="connsiteX4" fmla="*/ 6202887 w 10375356"/>
              <a:gd name="connsiteY4" fmla="*/ 10188869 h 10394676"/>
              <a:gd name="connsiteX5" fmla="*/ 5634740 w 10375356"/>
              <a:gd name="connsiteY5" fmla="*/ 9974857 h 10394676"/>
              <a:gd name="connsiteX6" fmla="*/ 5471684 w 10375356"/>
              <a:gd name="connsiteY6" fmla="*/ 10137913 h 10394676"/>
              <a:gd name="connsiteX7" fmla="*/ 5634740 w 10375356"/>
              <a:gd name="connsiteY7" fmla="*/ 10300969 h 10394676"/>
              <a:gd name="connsiteX8" fmla="*/ 5797795 w 10375356"/>
              <a:gd name="connsiteY8" fmla="*/ 10137913 h 10394676"/>
              <a:gd name="connsiteX9" fmla="*/ 5634740 w 10375356"/>
              <a:gd name="connsiteY9" fmla="*/ 9974857 h 10394676"/>
              <a:gd name="connsiteX10" fmla="*/ 7232175 w 10375356"/>
              <a:gd name="connsiteY10" fmla="*/ 9881865 h 10394676"/>
              <a:gd name="connsiteX11" fmla="*/ 7334085 w 10375356"/>
              <a:gd name="connsiteY11" fmla="*/ 9881865 h 10394676"/>
              <a:gd name="connsiteX12" fmla="*/ 7334085 w 10375356"/>
              <a:gd name="connsiteY12" fmla="*/ 9956193 h 10394676"/>
              <a:gd name="connsiteX13" fmla="*/ 7238719 w 10375356"/>
              <a:gd name="connsiteY13" fmla="*/ 9999307 h 10394676"/>
              <a:gd name="connsiteX14" fmla="*/ 7232175 w 10375356"/>
              <a:gd name="connsiteY14" fmla="*/ 10001887 h 10394676"/>
              <a:gd name="connsiteX15" fmla="*/ 4751991 w 10375356"/>
              <a:gd name="connsiteY15" fmla="*/ 9881865 h 10394676"/>
              <a:gd name="connsiteX16" fmla="*/ 4853901 w 10375356"/>
              <a:gd name="connsiteY16" fmla="*/ 9881865 h 10394676"/>
              <a:gd name="connsiteX17" fmla="*/ 4853901 w 10375356"/>
              <a:gd name="connsiteY17" fmla="*/ 10290777 h 10394676"/>
              <a:gd name="connsiteX18" fmla="*/ 4751991 w 10375356"/>
              <a:gd name="connsiteY18" fmla="*/ 10290777 h 10394676"/>
              <a:gd name="connsiteX19" fmla="*/ 5636013 w 10375356"/>
              <a:gd name="connsiteY19" fmla="*/ 9872947 h 10394676"/>
              <a:gd name="connsiteX20" fmla="*/ 5900978 w 10375356"/>
              <a:gd name="connsiteY20" fmla="*/ 10137913 h 10394676"/>
              <a:gd name="connsiteX21" fmla="*/ 5739217 w 10375356"/>
              <a:gd name="connsiteY21" fmla="*/ 10382077 h 10394676"/>
              <a:gd name="connsiteX22" fmla="*/ 5738756 w 10375356"/>
              <a:gd name="connsiteY22" fmla="*/ 10382220 h 10394676"/>
              <a:gd name="connsiteX23" fmla="*/ 5574951 w 10375356"/>
              <a:gd name="connsiteY23" fmla="*/ 10394676 h 10394676"/>
              <a:gd name="connsiteX24" fmla="*/ 5532810 w 10375356"/>
              <a:gd name="connsiteY24" fmla="*/ 10381361 h 10394676"/>
              <a:gd name="connsiteX25" fmla="*/ 5371048 w 10375356"/>
              <a:gd name="connsiteY25" fmla="*/ 10137913 h 10394676"/>
              <a:gd name="connsiteX26" fmla="*/ 5636013 w 10375356"/>
              <a:gd name="connsiteY26" fmla="*/ 9872947 h 10394676"/>
              <a:gd name="connsiteX27" fmla="*/ 3978752 w 10375356"/>
              <a:gd name="connsiteY27" fmla="*/ 9872947 h 10394676"/>
              <a:gd name="connsiteX28" fmla="*/ 4243718 w 10375356"/>
              <a:gd name="connsiteY28" fmla="*/ 10137913 h 10394676"/>
              <a:gd name="connsiteX29" fmla="*/ 4222918 w 10375356"/>
              <a:gd name="connsiteY29" fmla="*/ 10241117 h 10394676"/>
              <a:gd name="connsiteX30" fmla="*/ 4179036 w 10375356"/>
              <a:gd name="connsiteY30" fmla="*/ 10306239 h 10394676"/>
              <a:gd name="connsiteX31" fmla="*/ 4160436 w 10375356"/>
              <a:gd name="connsiteY31" fmla="*/ 10302917 h 10394676"/>
              <a:gd name="connsiteX32" fmla="*/ 4056265 w 10375356"/>
              <a:gd name="connsiteY32" fmla="*/ 10278875 h 10394676"/>
              <a:gd name="connsiteX33" fmla="*/ 4094199 w 10375356"/>
              <a:gd name="connsiteY33" fmla="*/ 10253357 h 10394676"/>
              <a:gd name="connsiteX34" fmla="*/ 4141809 w 10375356"/>
              <a:gd name="connsiteY34" fmla="*/ 10137913 h 10394676"/>
              <a:gd name="connsiteX35" fmla="*/ 3978752 w 10375356"/>
              <a:gd name="connsiteY35" fmla="*/ 9974857 h 10394676"/>
              <a:gd name="connsiteX36" fmla="*/ 3815698 w 10375356"/>
              <a:gd name="connsiteY36" fmla="*/ 10137913 h 10394676"/>
              <a:gd name="connsiteX37" fmla="*/ 3828457 w 10375356"/>
              <a:gd name="connsiteY37" fmla="*/ 10201547 h 10394676"/>
              <a:gd name="connsiteX38" fmla="*/ 3845505 w 10375356"/>
              <a:gd name="connsiteY38" fmla="*/ 10226891 h 10394676"/>
              <a:gd name="connsiteX39" fmla="*/ 3724813 w 10375356"/>
              <a:gd name="connsiteY39" fmla="*/ 10192618 h 10394676"/>
              <a:gd name="connsiteX40" fmla="*/ 3713787 w 10375356"/>
              <a:gd name="connsiteY40" fmla="*/ 10137913 h 10394676"/>
              <a:gd name="connsiteX41" fmla="*/ 3978752 w 10375356"/>
              <a:gd name="connsiteY41" fmla="*/ 9872947 h 10394676"/>
              <a:gd name="connsiteX42" fmla="*/ 3155832 w 10375356"/>
              <a:gd name="connsiteY42" fmla="*/ 9872947 h 10394676"/>
              <a:gd name="connsiteX43" fmla="*/ 3399999 w 10375356"/>
              <a:gd name="connsiteY43" fmla="*/ 10034709 h 10394676"/>
              <a:gd name="connsiteX44" fmla="*/ 3411035 w 10375356"/>
              <a:gd name="connsiteY44" fmla="*/ 10089469 h 10394676"/>
              <a:gd name="connsiteX45" fmla="*/ 3280434 w 10375356"/>
              <a:gd name="connsiteY45" fmla="*/ 10037975 h 10394676"/>
              <a:gd name="connsiteX46" fmla="*/ 3270003 w 10375356"/>
              <a:gd name="connsiteY46" fmla="*/ 10022469 h 10394676"/>
              <a:gd name="connsiteX47" fmla="*/ 3154558 w 10375356"/>
              <a:gd name="connsiteY47" fmla="*/ 9974857 h 10394676"/>
              <a:gd name="connsiteX48" fmla="*/ 3136355 w 10375356"/>
              <a:gd name="connsiteY48" fmla="*/ 9978507 h 10394676"/>
              <a:gd name="connsiteX49" fmla="*/ 3005935 w 10375356"/>
              <a:gd name="connsiteY49" fmla="*/ 9919545 h 10394676"/>
              <a:gd name="connsiteX50" fmla="*/ 3007618 w 10375356"/>
              <a:gd name="connsiteY50" fmla="*/ 9918157 h 10394676"/>
              <a:gd name="connsiteX51" fmla="*/ 3155832 w 10375356"/>
              <a:gd name="connsiteY51" fmla="*/ 9872947 h 10394676"/>
              <a:gd name="connsiteX52" fmla="*/ 7851277 w 10375356"/>
              <a:gd name="connsiteY52" fmla="*/ 9262761 h 10394676"/>
              <a:gd name="connsiteX53" fmla="*/ 8362099 w 10375356"/>
              <a:gd name="connsiteY53" fmla="*/ 9262761 h 10394676"/>
              <a:gd name="connsiteX54" fmla="*/ 8362099 w 10375356"/>
              <a:gd name="connsiteY54" fmla="*/ 9346902 h 10394676"/>
              <a:gd name="connsiteX55" fmla="*/ 8339488 w 10375356"/>
              <a:gd name="connsiteY55" fmla="*/ 9364671 h 10394676"/>
              <a:gd name="connsiteX56" fmla="*/ 7851277 w 10375356"/>
              <a:gd name="connsiteY56" fmla="*/ 9364671 h 10394676"/>
              <a:gd name="connsiteX57" fmla="*/ 5379965 w 10375356"/>
              <a:gd name="connsiteY57" fmla="*/ 9262761 h 10394676"/>
              <a:gd name="connsiteX58" fmla="*/ 5890787 w 10375356"/>
              <a:gd name="connsiteY58" fmla="*/ 9262761 h 10394676"/>
              <a:gd name="connsiteX59" fmla="*/ 5890787 w 10375356"/>
              <a:gd name="connsiteY59" fmla="*/ 9364671 h 10394676"/>
              <a:gd name="connsiteX60" fmla="*/ 5379965 w 10375356"/>
              <a:gd name="connsiteY60" fmla="*/ 9364671 h 10394676"/>
              <a:gd name="connsiteX61" fmla="*/ 4546902 w 10375356"/>
              <a:gd name="connsiteY61" fmla="*/ 9262761 h 10394676"/>
              <a:gd name="connsiteX62" fmla="*/ 5057725 w 10375356"/>
              <a:gd name="connsiteY62" fmla="*/ 9262761 h 10394676"/>
              <a:gd name="connsiteX63" fmla="*/ 5057725 w 10375356"/>
              <a:gd name="connsiteY63" fmla="*/ 9364671 h 10394676"/>
              <a:gd name="connsiteX64" fmla="*/ 4546902 w 10375356"/>
              <a:gd name="connsiteY64" fmla="*/ 9364671 h 10394676"/>
              <a:gd name="connsiteX65" fmla="*/ 2899787 w 10375356"/>
              <a:gd name="connsiteY65" fmla="*/ 9262761 h 10394676"/>
              <a:gd name="connsiteX66" fmla="*/ 3410609 w 10375356"/>
              <a:gd name="connsiteY66" fmla="*/ 9262761 h 10394676"/>
              <a:gd name="connsiteX67" fmla="*/ 3410609 w 10375356"/>
              <a:gd name="connsiteY67" fmla="*/ 9364671 h 10394676"/>
              <a:gd name="connsiteX68" fmla="*/ 2899787 w 10375356"/>
              <a:gd name="connsiteY68" fmla="*/ 9364671 h 10394676"/>
              <a:gd name="connsiteX69" fmla="*/ 6450017 w 10375356"/>
              <a:gd name="connsiteY69" fmla="*/ 9150661 h 10394676"/>
              <a:gd name="connsiteX70" fmla="*/ 6286962 w 10375356"/>
              <a:gd name="connsiteY70" fmla="*/ 9313717 h 10394676"/>
              <a:gd name="connsiteX71" fmla="*/ 6450017 w 10375356"/>
              <a:gd name="connsiteY71" fmla="*/ 9476773 h 10394676"/>
              <a:gd name="connsiteX72" fmla="*/ 6613073 w 10375356"/>
              <a:gd name="connsiteY72" fmla="*/ 9313717 h 10394676"/>
              <a:gd name="connsiteX73" fmla="*/ 6450017 w 10375356"/>
              <a:gd name="connsiteY73" fmla="*/ 9150661 h 10394676"/>
              <a:gd name="connsiteX74" fmla="*/ 3978754 w 10375356"/>
              <a:gd name="connsiteY74" fmla="*/ 9150661 h 10394676"/>
              <a:gd name="connsiteX75" fmla="*/ 3815700 w 10375356"/>
              <a:gd name="connsiteY75" fmla="*/ 9313717 h 10394676"/>
              <a:gd name="connsiteX76" fmla="*/ 3978754 w 10375356"/>
              <a:gd name="connsiteY76" fmla="*/ 9476773 h 10394676"/>
              <a:gd name="connsiteX77" fmla="*/ 4141811 w 10375356"/>
              <a:gd name="connsiteY77" fmla="*/ 9313717 h 10394676"/>
              <a:gd name="connsiteX78" fmla="*/ 3978754 w 10375356"/>
              <a:gd name="connsiteY78" fmla="*/ 9150661 h 10394676"/>
              <a:gd name="connsiteX79" fmla="*/ 7232175 w 10375356"/>
              <a:gd name="connsiteY79" fmla="*/ 9057669 h 10394676"/>
              <a:gd name="connsiteX80" fmla="*/ 7334085 w 10375356"/>
              <a:gd name="connsiteY80" fmla="*/ 9057669 h 10394676"/>
              <a:gd name="connsiteX81" fmla="*/ 7334085 w 10375356"/>
              <a:gd name="connsiteY81" fmla="*/ 9568493 h 10394676"/>
              <a:gd name="connsiteX82" fmla="*/ 7232175 w 10375356"/>
              <a:gd name="connsiteY82" fmla="*/ 9568493 h 10394676"/>
              <a:gd name="connsiteX83" fmla="*/ 2280685 w 10375356"/>
              <a:gd name="connsiteY83" fmla="*/ 9057669 h 10394676"/>
              <a:gd name="connsiteX84" fmla="*/ 2382595 w 10375356"/>
              <a:gd name="connsiteY84" fmla="*/ 9057669 h 10394676"/>
              <a:gd name="connsiteX85" fmla="*/ 2382595 w 10375356"/>
              <a:gd name="connsiteY85" fmla="*/ 9568493 h 10394676"/>
              <a:gd name="connsiteX86" fmla="*/ 2374638 w 10375356"/>
              <a:gd name="connsiteY86" fmla="*/ 9568493 h 10394676"/>
              <a:gd name="connsiteX87" fmla="*/ 2297278 w 10375356"/>
              <a:gd name="connsiteY87" fmla="*/ 9518899 h 10394676"/>
              <a:gd name="connsiteX88" fmla="*/ 2280685 w 10375356"/>
              <a:gd name="connsiteY88" fmla="*/ 9507099 h 10394676"/>
              <a:gd name="connsiteX89" fmla="*/ 6450017 w 10375356"/>
              <a:gd name="connsiteY89" fmla="*/ 9048751 h 10394676"/>
              <a:gd name="connsiteX90" fmla="*/ 6714982 w 10375356"/>
              <a:gd name="connsiteY90" fmla="*/ 9313717 h 10394676"/>
              <a:gd name="connsiteX91" fmla="*/ 6450017 w 10375356"/>
              <a:gd name="connsiteY91" fmla="*/ 9578681 h 10394676"/>
              <a:gd name="connsiteX92" fmla="*/ 6185052 w 10375356"/>
              <a:gd name="connsiteY92" fmla="*/ 9313717 h 10394676"/>
              <a:gd name="connsiteX93" fmla="*/ 6450017 w 10375356"/>
              <a:gd name="connsiteY93" fmla="*/ 9048751 h 10394676"/>
              <a:gd name="connsiteX94" fmla="*/ 3978754 w 10375356"/>
              <a:gd name="connsiteY94" fmla="*/ 9048751 h 10394676"/>
              <a:gd name="connsiteX95" fmla="*/ 4243720 w 10375356"/>
              <a:gd name="connsiteY95" fmla="*/ 9313717 h 10394676"/>
              <a:gd name="connsiteX96" fmla="*/ 3978754 w 10375356"/>
              <a:gd name="connsiteY96" fmla="*/ 9578681 h 10394676"/>
              <a:gd name="connsiteX97" fmla="*/ 3713789 w 10375356"/>
              <a:gd name="connsiteY97" fmla="*/ 9313717 h 10394676"/>
              <a:gd name="connsiteX98" fmla="*/ 3978754 w 10375356"/>
              <a:gd name="connsiteY98" fmla="*/ 9048751 h 10394676"/>
              <a:gd name="connsiteX99" fmla="*/ 5676776 w 10375356"/>
              <a:gd name="connsiteY99" fmla="*/ 8665264 h 10394676"/>
              <a:gd name="connsiteX100" fmla="*/ 5676776 w 10375356"/>
              <a:gd name="connsiteY100" fmla="*/ 8745569 h 10394676"/>
              <a:gd name="connsiteX101" fmla="*/ 5574867 w 10375356"/>
              <a:gd name="connsiteY101" fmla="*/ 8745569 h 10394676"/>
              <a:gd name="connsiteX102" fmla="*/ 5574867 w 10375356"/>
              <a:gd name="connsiteY102" fmla="*/ 8678214 h 10394676"/>
              <a:gd name="connsiteX103" fmla="*/ 3918880 w 10375356"/>
              <a:gd name="connsiteY103" fmla="*/ 8449859 h 10394676"/>
              <a:gd name="connsiteX104" fmla="*/ 4007509 w 10375356"/>
              <a:gd name="connsiteY104" fmla="*/ 8484804 h 10394676"/>
              <a:gd name="connsiteX105" fmla="*/ 4020789 w 10375356"/>
              <a:gd name="connsiteY105" fmla="*/ 8489298 h 10394676"/>
              <a:gd name="connsiteX106" fmla="*/ 4020789 w 10375356"/>
              <a:gd name="connsiteY106" fmla="*/ 8745569 h 10394676"/>
              <a:gd name="connsiteX107" fmla="*/ 3918880 w 10375356"/>
              <a:gd name="connsiteY107" fmla="*/ 8745569 h 10394676"/>
              <a:gd name="connsiteX108" fmla="*/ 7018165 w 10375356"/>
              <a:gd name="connsiteY108" fmla="*/ 8438567 h 10394676"/>
              <a:gd name="connsiteX109" fmla="*/ 7528988 w 10375356"/>
              <a:gd name="connsiteY109" fmla="*/ 8438567 h 10394676"/>
              <a:gd name="connsiteX110" fmla="*/ 7528988 w 10375356"/>
              <a:gd name="connsiteY110" fmla="*/ 8540477 h 10394676"/>
              <a:gd name="connsiteX111" fmla="*/ 7018165 w 10375356"/>
              <a:gd name="connsiteY111" fmla="*/ 8540477 h 10394676"/>
              <a:gd name="connsiteX112" fmla="*/ 6530840 w 10375356"/>
              <a:gd name="connsiteY112" fmla="*/ 8438567 h 10394676"/>
              <a:gd name="connsiteX113" fmla="*/ 6697148 w 10375356"/>
              <a:gd name="connsiteY113" fmla="*/ 8438567 h 10394676"/>
              <a:gd name="connsiteX114" fmla="*/ 6697148 w 10375356"/>
              <a:gd name="connsiteY114" fmla="*/ 8540477 h 10394676"/>
              <a:gd name="connsiteX115" fmla="*/ 6248661 w 10375356"/>
              <a:gd name="connsiteY115" fmla="*/ 8540477 h 10394676"/>
              <a:gd name="connsiteX116" fmla="*/ 6251001 w 10375356"/>
              <a:gd name="connsiteY116" fmla="*/ 8539813 h 10394676"/>
              <a:gd name="connsiteX117" fmla="*/ 6413573 w 10375356"/>
              <a:gd name="connsiteY117" fmla="*/ 8484804 h 10394676"/>
              <a:gd name="connsiteX118" fmla="*/ 2066673 w 10375356"/>
              <a:gd name="connsiteY118" fmla="*/ 8438567 h 10394676"/>
              <a:gd name="connsiteX119" fmla="*/ 2577496 w 10375356"/>
              <a:gd name="connsiteY119" fmla="*/ 8438567 h 10394676"/>
              <a:gd name="connsiteX120" fmla="*/ 2577496 w 10375356"/>
              <a:gd name="connsiteY120" fmla="*/ 8540477 h 10394676"/>
              <a:gd name="connsiteX121" fmla="*/ 2066673 w 10375356"/>
              <a:gd name="connsiteY121" fmla="*/ 8540477 h 10394676"/>
              <a:gd name="connsiteX122" fmla="*/ 1234837 w 10375356"/>
              <a:gd name="connsiteY122" fmla="*/ 8438567 h 10394676"/>
              <a:gd name="connsiteX123" fmla="*/ 1745660 w 10375356"/>
              <a:gd name="connsiteY123" fmla="*/ 8438567 h 10394676"/>
              <a:gd name="connsiteX124" fmla="*/ 1745660 w 10375356"/>
              <a:gd name="connsiteY124" fmla="*/ 8540477 h 10394676"/>
              <a:gd name="connsiteX125" fmla="*/ 1234837 w 10375356"/>
              <a:gd name="connsiteY125" fmla="*/ 8540477 h 10394676"/>
              <a:gd name="connsiteX126" fmla="*/ 8870376 w 10375356"/>
              <a:gd name="connsiteY126" fmla="*/ 8234747 h 10394676"/>
              <a:gd name="connsiteX127" fmla="*/ 8972285 w 10375356"/>
              <a:gd name="connsiteY127" fmla="*/ 8234747 h 10394676"/>
              <a:gd name="connsiteX128" fmla="*/ 8972285 w 10375356"/>
              <a:gd name="connsiteY128" fmla="*/ 8745569 h 10394676"/>
              <a:gd name="connsiteX129" fmla="*/ 8870376 w 10375356"/>
              <a:gd name="connsiteY129" fmla="*/ 8745569 h 10394676"/>
              <a:gd name="connsiteX130" fmla="*/ 8046180 w 10375356"/>
              <a:gd name="connsiteY130" fmla="*/ 8234747 h 10394676"/>
              <a:gd name="connsiteX131" fmla="*/ 8148089 w 10375356"/>
              <a:gd name="connsiteY131" fmla="*/ 8234747 h 10394676"/>
              <a:gd name="connsiteX132" fmla="*/ 8148089 w 10375356"/>
              <a:gd name="connsiteY132" fmla="*/ 8745569 h 10394676"/>
              <a:gd name="connsiteX133" fmla="*/ 8046180 w 10375356"/>
              <a:gd name="connsiteY133" fmla="*/ 8745569 h 10394676"/>
              <a:gd name="connsiteX134" fmla="*/ 3094685 w 10375356"/>
              <a:gd name="connsiteY134" fmla="*/ 8234747 h 10394676"/>
              <a:gd name="connsiteX135" fmla="*/ 3196595 w 10375356"/>
              <a:gd name="connsiteY135" fmla="*/ 8234747 h 10394676"/>
              <a:gd name="connsiteX136" fmla="*/ 3196595 w 10375356"/>
              <a:gd name="connsiteY136" fmla="*/ 8745569 h 10394676"/>
              <a:gd name="connsiteX137" fmla="*/ 3094685 w 10375356"/>
              <a:gd name="connsiteY137" fmla="*/ 8745569 h 10394676"/>
              <a:gd name="connsiteX138" fmla="*/ 9489477 w 10375356"/>
              <a:gd name="connsiteY138" fmla="*/ 7615645 h 10394676"/>
              <a:gd name="connsiteX139" fmla="*/ 9824110 w 10375356"/>
              <a:gd name="connsiteY139" fmla="*/ 7615645 h 10394676"/>
              <a:gd name="connsiteX140" fmla="*/ 9792198 w 10375356"/>
              <a:gd name="connsiteY140" fmla="*/ 7681890 h 10394676"/>
              <a:gd name="connsiteX141" fmla="*/ 9770531 w 10375356"/>
              <a:gd name="connsiteY141" fmla="*/ 7717555 h 10394676"/>
              <a:gd name="connsiteX142" fmla="*/ 9489477 w 10375356"/>
              <a:gd name="connsiteY142" fmla="*/ 7717555 h 10394676"/>
              <a:gd name="connsiteX143" fmla="*/ 8666557 w 10375356"/>
              <a:gd name="connsiteY143" fmla="*/ 7615645 h 10394676"/>
              <a:gd name="connsiteX144" fmla="*/ 9177379 w 10375356"/>
              <a:gd name="connsiteY144" fmla="*/ 7615645 h 10394676"/>
              <a:gd name="connsiteX145" fmla="*/ 9177379 w 10375356"/>
              <a:gd name="connsiteY145" fmla="*/ 7717555 h 10394676"/>
              <a:gd name="connsiteX146" fmla="*/ 8666557 w 10375356"/>
              <a:gd name="connsiteY146" fmla="*/ 7717555 h 10394676"/>
              <a:gd name="connsiteX147" fmla="*/ 2322721 w 10375356"/>
              <a:gd name="connsiteY147" fmla="*/ 7503545 h 10394676"/>
              <a:gd name="connsiteX148" fmla="*/ 2159665 w 10375356"/>
              <a:gd name="connsiteY148" fmla="*/ 7666599 h 10394676"/>
              <a:gd name="connsiteX149" fmla="*/ 2322721 w 10375356"/>
              <a:gd name="connsiteY149" fmla="*/ 7829655 h 10394676"/>
              <a:gd name="connsiteX150" fmla="*/ 2485776 w 10375356"/>
              <a:gd name="connsiteY150" fmla="*/ 7666599 h 10394676"/>
              <a:gd name="connsiteX151" fmla="*/ 2322721 w 10375356"/>
              <a:gd name="connsiteY151" fmla="*/ 7503545 h 10394676"/>
              <a:gd name="connsiteX152" fmla="*/ 8046180 w 10375356"/>
              <a:gd name="connsiteY152" fmla="*/ 7410553 h 10394676"/>
              <a:gd name="connsiteX153" fmla="*/ 8148089 w 10375356"/>
              <a:gd name="connsiteY153" fmla="*/ 7410553 h 10394676"/>
              <a:gd name="connsiteX154" fmla="*/ 8148089 w 10375356"/>
              <a:gd name="connsiteY154" fmla="*/ 7921375 h 10394676"/>
              <a:gd name="connsiteX155" fmla="*/ 8046180 w 10375356"/>
              <a:gd name="connsiteY155" fmla="*/ 7921375 h 10394676"/>
              <a:gd name="connsiteX156" fmla="*/ 1447573 w 10375356"/>
              <a:gd name="connsiteY156" fmla="*/ 7410553 h 10394676"/>
              <a:gd name="connsiteX157" fmla="*/ 1549483 w 10375356"/>
              <a:gd name="connsiteY157" fmla="*/ 7410553 h 10394676"/>
              <a:gd name="connsiteX158" fmla="*/ 1549483 w 10375356"/>
              <a:gd name="connsiteY158" fmla="*/ 7921375 h 10394676"/>
              <a:gd name="connsiteX159" fmla="*/ 1447573 w 10375356"/>
              <a:gd name="connsiteY159" fmla="*/ 7921375 h 10394676"/>
              <a:gd name="connsiteX160" fmla="*/ 2322721 w 10375356"/>
              <a:gd name="connsiteY160" fmla="*/ 7401633 h 10394676"/>
              <a:gd name="connsiteX161" fmla="*/ 2587686 w 10375356"/>
              <a:gd name="connsiteY161" fmla="*/ 7666599 h 10394676"/>
              <a:gd name="connsiteX162" fmla="*/ 2322721 w 10375356"/>
              <a:gd name="connsiteY162" fmla="*/ 7931565 h 10394676"/>
              <a:gd name="connsiteX163" fmla="*/ 2057755 w 10375356"/>
              <a:gd name="connsiteY163" fmla="*/ 7666599 h 10394676"/>
              <a:gd name="connsiteX164" fmla="*/ 2322721 w 10375356"/>
              <a:gd name="connsiteY164" fmla="*/ 7401633 h 10394676"/>
              <a:gd name="connsiteX165" fmla="*/ 674333 w 10375356"/>
              <a:gd name="connsiteY165" fmla="*/ 7401633 h 10394676"/>
              <a:gd name="connsiteX166" fmla="*/ 939299 w 10375356"/>
              <a:gd name="connsiteY166" fmla="*/ 7666599 h 10394676"/>
              <a:gd name="connsiteX167" fmla="*/ 777537 w 10375356"/>
              <a:gd name="connsiteY167" fmla="*/ 7910765 h 10394676"/>
              <a:gd name="connsiteX168" fmla="*/ 769452 w 10375356"/>
              <a:gd name="connsiteY168" fmla="*/ 7913271 h 10394676"/>
              <a:gd name="connsiteX169" fmla="*/ 713980 w 10375356"/>
              <a:gd name="connsiteY169" fmla="*/ 7821961 h 10394676"/>
              <a:gd name="connsiteX170" fmla="*/ 739241 w 10375356"/>
              <a:gd name="connsiteY170" fmla="*/ 7816897 h 10394676"/>
              <a:gd name="connsiteX171" fmla="*/ 838662 w 10375356"/>
              <a:gd name="connsiteY171" fmla="*/ 7666599 h 10394676"/>
              <a:gd name="connsiteX172" fmla="*/ 675607 w 10375356"/>
              <a:gd name="connsiteY172" fmla="*/ 7503545 h 10394676"/>
              <a:gd name="connsiteX173" fmla="*/ 611973 w 10375356"/>
              <a:gd name="connsiteY173" fmla="*/ 7516304 h 10394676"/>
              <a:gd name="connsiteX174" fmla="*/ 564501 w 10375356"/>
              <a:gd name="connsiteY174" fmla="*/ 7548238 h 10394676"/>
              <a:gd name="connsiteX175" fmla="*/ 518632 w 10375356"/>
              <a:gd name="connsiteY175" fmla="*/ 7453019 h 10394676"/>
              <a:gd name="connsiteX176" fmla="*/ 526119 w 10375356"/>
              <a:gd name="connsiteY176" fmla="*/ 7446844 h 10394676"/>
              <a:gd name="connsiteX177" fmla="*/ 674333 w 10375356"/>
              <a:gd name="connsiteY177" fmla="*/ 7401633 h 10394676"/>
              <a:gd name="connsiteX178" fmla="*/ 8148089 w 10375356"/>
              <a:gd name="connsiteY178" fmla="*/ 7094869 h 10394676"/>
              <a:gd name="connsiteX179" fmla="*/ 8148089 w 10375356"/>
              <a:gd name="connsiteY179" fmla="*/ 7097179 h 10394676"/>
              <a:gd name="connsiteX180" fmla="*/ 8146686 w 10375356"/>
              <a:gd name="connsiteY180" fmla="*/ 7097179 h 10394676"/>
              <a:gd name="connsiteX181" fmla="*/ 8665281 w 10375356"/>
              <a:gd name="connsiteY181" fmla="*/ 6791449 h 10394676"/>
              <a:gd name="connsiteX182" fmla="*/ 9176104 w 10375356"/>
              <a:gd name="connsiteY182" fmla="*/ 6791449 h 10394676"/>
              <a:gd name="connsiteX183" fmla="*/ 9176104 w 10375356"/>
              <a:gd name="connsiteY183" fmla="*/ 6893357 h 10394676"/>
              <a:gd name="connsiteX184" fmla="*/ 8665281 w 10375356"/>
              <a:gd name="connsiteY184" fmla="*/ 6893357 h 10394676"/>
              <a:gd name="connsiteX185" fmla="*/ 2066681 w 10375356"/>
              <a:gd name="connsiteY185" fmla="*/ 6791449 h 10394676"/>
              <a:gd name="connsiteX186" fmla="*/ 2098040 w 10375356"/>
              <a:gd name="connsiteY186" fmla="*/ 6791449 h 10394676"/>
              <a:gd name="connsiteX187" fmla="*/ 2133958 w 10375356"/>
              <a:gd name="connsiteY187" fmla="*/ 6866010 h 10394676"/>
              <a:gd name="connsiteX188" fmla="*/ 2150572 w 10375356"/>
              <a:gd name="connsiteY188" fmla="*/ 6893357 h 10394676"/>
              <a:gd name="connsiteX189" fmla="*/ 2066681 w 10375356"/>
              <a:gd name="connsiteY189" fmla="*/ 6893357 h 10394676"/>
              <a:gd name="connsiteX190" fmla="*/ 419562 w 10375356"/>
              <a:gd name="connsiteY190" fmla="*/ 6791449 h 10394676"/>
              <a:gd name="connsiteX191" fmla="*/ 930385 w 10375356"/>
              <a:gd name="connsiteY191" fmla="*/ 6791449 h 10394676"/>
              <a:gd name="connsiteX192" fmla="*/ 930385 w 10375356"/>
              <a:gd name="connsiteY192" fmla="*/ 6893357 h 10394676"/>
              <a:gd name="connsiteX193" fmla="*/ 419562 w 10375356"/>
              <a:gd name="connsiteY193" fmla="*/ 6893357 h 10394676"/>
              <a:gd name="connsiteX194" fmla="*/ 9745526 w 10375356"/>
              <a:gd name="connsiteY194" fmla="*/ 6679349 h 10394676"/>
              <a:gd name="connsiteX195" fmla="*/ 9582469 w 10375356"/>
              <a:gd name="connsiteY195" fmla="*/ 6842405 h 10394676"/>
              <a:gd name="connsiteX196" fmla="*/ 9745526 w 10375356"/>
              <a:gd name="connsiteY196" fmla="*/ 7005461 h 10394676"/>
              <a:gd name="connsiteX197" fmla="*/ 9908582 w 10375356"/>
              <a:gd name="connsiteY197" fmla="*/ 6842405 h 10394676"/>
              <a:gd name="connsiteX198" fmla="*/ 9745526 w 10375356"/>
              <a:gd name="connsiteY198" fmla="*/ 6679349 h 10394676"/>
              <a:gd name="connsiteX199" fmla="*/ 1498533 w 10375356"/>
              <a:gd name="connsiteY199" fmla="*/ 6679349 h 10394676"/>
              <a:gd name="connsiteX200" fmla="*/ 1335477 w 10375356"/>
              <a:gd name="connsiteY200" fmla="*/ 6842405 h 10394676"/>
              <a:gd name="connsiteX201" fmla="*/ 1498533 w 10375356"/>
              <a:gd name="connsiteY201" fmla="*/ 7005461 h 10394676"/>
              <a:gd name="connsiteX202" fmla="*/ 1661588 w 10375356"/>
              <a:gd name="connsiteY202" fmla="*/ 6842405 h 10394676"/>
              <a:gd name="connsiteX203" fmla="*/ 1498533 w 10375356"/>
              <a:gd name="connsiteY203" fmla="*/ 6679349 h 10394676"/>
              <a:gd name="connsiteX204" fmla="*/ 9744252 w 10375356"/>
              <a:gd name="connsiteY204" fmla="*/ 6577439 h 10394676"/>
              <a:gd name="connsiteX205" fmla="*/ 10009217 w 10375356"/>
              <a:gd name="connsiteY205" fmla="*/ 6842405 h 10394676"/>
              <a:gd name="connsiteX206" fmla="*/ 9744252 w 10375356"/>
              <a:gd name="connsiteY206" fmla="*/ 7107369 h 10394676"/>
              <a:gd name="connsiteX207" fmla="*/ 9479286 w 10375356"/>
              <a:gd name="connsiteY207" fmla="*/ 6842405 h 10394676"/>
              <a:gd name="connsiteX208" fmla="*/ 9744252 w 10375356"/>
              <a:gd name="connsiteY208" fmla="*/ 6577439 h 10394676"/>
              <a:gd name="connsiteX209" fmla="*/ 1499807 w 10375356"/>
              <a:gd name="connsiteY209" fmla="*/ 6577439 h 10394676"/>
              <a:gd name="connsiteX210" fmla="*/ 1764771 w 10375356"/>
              <a:gd name="connsiteY210" fmla="*/ 6842405 h 10394676"/>
              <a:gd name="connsiteX211" fmla="*/ 1499807 w 10375356"/>
              <a:gd name="connsiteY211" fmla="*/ 7107369 h 10394676"/>
              <a:gd name="connsiteX212" fmla="*/ 1234841 w 10375356"/>
              <a:gd name="connsiteY212" fmla="*/ 6842405 h 10394676"/>
              <a:gd name="connsiteX213" fmla="*/ 1499807 w 10375356"/>
              <a:gd name="connsiteY213" fmla="*/ 6577439 h 10394676"/>
              <a:gd name="connsiteX214" fmla="*/ 8921331 w 10375356"/>
              <a:gd name="connsiteY214" fmla="*/ 5855153 h 10394676"/>
              <a:gd name="connsiteX215" fmla="*/ 8758274 w 10375356"/>
              <a:gd name="connsiteY215" fmla="*/ 6018209 h 10394676"/>
              <a:gd name="connsiteX216" fmla="*/ 8921331 w 10375356"/>
              <a:gd name="connsiteY216" fmla="*/ 6181265 h 10394676"/>
              <a:gd name="connsiteX217" fmla="*/ 9084385 w 10375356"/>
              <a:gd name="connsiteY217" fmla="*/ 6018209 h 10394676"/>
              <a:gd name="connsiteX218" fmla="*/ 8921331 w 10375356"/>
              <a:gd name="connsiteY218" fmla="*/ 5855153 h 10394676"/>
              <a:gd name="connsiteX219" fmla="*/ 674337 w 10375356"/>
              <a:gd name="connsiteY219" fmla="*/ 5855153 h 10394676"/>
              <a:gd name="connsiteX220" fmla="*/ 511282 w 10375356"/>
              <a:gd name="connsiteY220" fmla="*/ 6018209 h 10394676"/>
              <a:gd name="connsiteX221" fmla="*/ 674337 w 10375356"/>
              <a:gd name="connsiteY221" fmla="*/ 6181265 h 10394676"/>
              <a:gd name="connsiteX222" fmla="*/ 837393 w 10375356"/>
              <a:gd name="connsiteY222" fmla="*/ 6018209 h 10394676"/>
              <a:gd name="connsiteX223" fmla="*/ 674337 w 10375356"/>
              <a:gd name="connsiteY223" fmla="*/ 5855153 h 10394676"/>
              <a:gd name="connsiteX224" fmla="*/ 10375356 w 10375356"/>
              <a:gd name="connsiteY224" fmla="*/ 5854333 h 10394676"/>
              <a:gd name="connsiteX225" fmla="*/ 10334572 w 10375356"/>
              <a:gd name="connsiteY225" fmla="*/ 6121561 h 10394676"/>
              <a:gd name="connsiteX226" fmla="*/ 10334472 w 10375356"/>
              <a:gd name="connsiteY226" fmla="*/ 6121413 h 10394676"/>
              <a:gd name="connsiteX227" fmla="*/ 10313672 w 10375356"/>
              <a:gd name="connsiteY227" fmla="*/ 6018209 h 10394676"/>
              <a:gd name="connsiteX228" fmla="*/ 10334472 w 10375356"/>
              <a:gd name="connsiteY228" fmla="*/ 5915005 h 10394676"/>
              <a:gd name="connsiteX229" fmla="*/ 9694571 w 10375356"/>
              <a:gd name="connsiteY229" fmla="*/ 5763433 h 10394676"/>
              <a:gd name="connsiteX230" fmla="*/ 9796481 w 10375356"/>
              <a:gd name="connsiteY230" fmla="*/ 5763433 h 10394676"/>
              <a:gd name="connsiteX231" fmla="*/ 9796481 w 10375356"/>
              <a:gd name="connsiteY231" fmla="*/ 6274257 h 10394676"/>
              <a:gd name="connsiteX232" fmla="*/ 9694571 w 10375356"/>
              <a:gd name="connsiteY232" fmla="*/ 6274257 h 10394676"/>
              <a:gd name="connsiteX233" fmla="*/ 1447575 w 10375356"/>
              <a:gd name="connsiteY233" fmla="*/ 5763433 h 10394676"/>
              <a:gd name="connsiteX234" fmla="*/ 1549485 w 10375356"/>
              <a:gd name="connsiteY234" fmla="*/ 5763433 h 10394676"/>
              <a:gd name="connsiteX235" fmla="*/ 1549485 w 10375356"/>
              <a:gd name="connsiteY235" fmla="*/ 6274257 h 10394676"/>
              <a:gd name="connsiteX236" fmla="*/ 1447575 w 10375356"/>
              <a:gd name="connsiteY236" fmla="*/ 6274257 h 10394676"/>
              <a:gd name="connsiteX237" fmla="*/ 8922604 w 10375356"/>
              <a:gd name="connsiteY237" fmla="*/ 5753243 h 10394676"/>
              <a:gd name="connsiteX238" fmla="*/ 9187569 w 10375356"/>
              <a:gd name="connsiteY238" fmla="*/ 6018209 h 10394676"/>
              <a:gd name="connsiteX239" fmla="*/ 8922604 w 10375356"/>
              <a:gd name="connsiteY239" fmla="*/ 6283173 h 10394676"/>
              <a:gd name="connsiteX240" fmla="*/ 8657638 w 10375356"/>
              <a:gd name="connsiteY240" fmla="*/ 6018209 h 10394676"/>
              <a:gd name="connsiteX241" fmla="*/ 8922604 w 10375356"/>
              <a:gd name="connsiteY241" fmla="*/ 5753243 h 10394676"/>
              <a:gd name="connsiteX242" fmla="*/ 675610 w 10375356"/>
              <a:gd name="connsiteY242" fmla="*/ 5753243 h 10394676"/>
              <a:gd name="connsiteX243" fmla="*/ 940577 w 10375356"/>
              <a:gd name="connsiteY243" fmla="*/ 6018209 h 10394676"/>
              <a:gd name="connsiteX244" fmla="*/ 675610 w 10375356"/>
              <a:gd name="connsiteY244" fmla="*/ 6283173 h 10394676"/>
              <a:gd name="connsiteX245" fmla="*/ 410646 w 10375356"/>
              <a:gd name="connsiteY245" fmla="*/ 6018209 h 10394676"/>
              <a:gd name="connsiteX246" fmla="*/ 675610 w 10375356"/>
              <a:gd name="connsiteY246" fmla="*/ 5753243 h 10394676"/>
              <a:gd name="connsiteX247" fmla="*/ 9489477 w 10375356"/>
              <a:gd name="connsiteY247" fmla="*/ 5143057 h 10394676"/>
              <a:gd name="connsiteX248" fmla="*/ 10000300 w 10375356"/>
              <a:gd name="connsiteY248" fmla="*/ 5143057 h 10394676"/>
              <a:gd name="connsiteX249" fmla="*/ 10000300 w 10375356"/>
              <a:gd name="connsiteY249" fmla="*/ 5244969 h 10394676"/>
              <a:gd name="connsiteX250" fmla="*/ 9489477 w 10375356"/>
              <a:gd name="connsiteY250" fmla="*/ 5244969 h 10394676"/>
              <a:gd name="connsiteX251" fmla="*/ 8706634 w 10375356"/>
              <a:gd name="connsiteY251" fmla="*/ 5143057 h 10394676"/>
              <a:gd name="connsiteX252" fmla="*/ 9176104 w 10375356"/>
              <a:gd name="connsiteY252" fmla="*/ 5143057 h 10394676"/>
              <a:gd name="connsiteX253" fmla="*/ 9176104 w 10375356"/>
              <a:gd name="connsiteY253" fmla="*/ 5244969 h 10394676"/>
              <a:gd name="connsiteX254" fmla="*/ 8707060 w 10375356"/>
              <a:gd name="connsiteY254" fmla="*/ 5244969 h 10394676"/>
              <a:gd name="connsiteX255" fmla="*/ 8709420 w 10375356"/>
              <a:gd name="connsiteY255" fmla="*/ 5198237 h 10394676"/>
              <a:gd name="connsiteX256" fmla="*/ 1242485 w 10375356"/>
              <a:gd name="connsiteY256" fmla="*/ 5143057 h 10394676"/>
              <a:gd name="connsiteX257" fmla="*/ 1714449 w 10375356"/>
              <a:gd name="connsiteY257" fmla="*/ 5143057 h 10394676"/>
              <a:gd name="connsiteX258" fmla="*/ 1711662 w 10375356"/>
              <a:gd name="connsiteY258" fmla="*/ 5198237 h 10394676"/>
              <a:gd name="connsiteX259" fmla="*/ 1714022 w 10375356"/>
              <a:gd name="connsiteY259" fmla="*/ 5244969 h 10394676"/>
              <a:gd name="connsiteX260" fmla="*/ 1242485 w 10375356"/>
              <a:gd name="connsiteY260" fmla="*/ 5244969 h 10394676"/>
              <a:gd name="connsiteX261" fmla="*/ 2787 w 10375356"/>
              <a:gd name="connsiteY261" fmla="*/ 5143057 h 10394676"/>
              <a:gd name="connsiteX262" fmla="*/ 97302 w 10375356"/>
              <a:gd name="connsiteY262" fmla="*/ 5143057 h 10394676"/>
              <a:gd name="connsiteX263" fmla="*/ 97302 w 10375356"/>
              <a:gd name="connsiteY263" fmla="*/ 5244969 h 10394676"/>
              <a:gd name="connsiteX264" fmla="*/ 2360 w 10375356"/>
              <a:gd name="connsiteY264" fmla="*/ 5244969 h 10394676"/>
              <a:gd name="connsiteX265" fmla="*/ 0 w 10375356"/>
              <a:gd name="connsiteY265" fmla="*/ 5198237 h 10394676"/>
              <a:gd name="connsiteX266" fmla="*/ 623389 w 10375356"/>
              <a:gd name="connsiteY266" fmla="*/ 4939239 h 10394676"/>
              <a:gd name="connsiteX267" fmla="*/ 725299 w 10375356"/>
              <a:gd name="connsiteY267" fmla="*/ 4939239 h 10394676"/>
              <a:gd name="connsiteX268" fmla="*/ 725299 w 10375356"/>
              <a:gd name="connsiteY268" fmla="*/ 5450061 h 10394676"/>
              <a:gd name="connsiteX269" fmla="*/ 623389 w 10375356"/>
              <a:gd name="connsiteY269" fmla="*/ 5450061 h 10394676"/>
              <a:gd name="connsiteX270" fmla="*/ 86723 w 10375356"/>
              <a:gd name="connsiteY270" fmla="*/ 4273524 h 10394676"/>
              <a:gd name="connsiteX271" fmla="*/ 106218 w 10375356"/>
              <a:gd name="connsiteY271" fmla="*/ 4371093 h 10394676"/>
              <a:gd name="connsiteX272" fmla="*/ 85418 w 10375356"/>
              <a:gd name="connsiteY272" fmla="*/ 4474296 h 10394676"/>
              <a:gd name="connsiteX273" fmla="*/ 47492 w 10375356"/>
              <a:gd name="connsiteY273" fmla="*/ 4530579 h 10394676"/>
              <a:gd name="connsiteX274" fmla="*/ 9745526 w 10375356"/>
              <a:gd name="connsiteY274" fmla="*/ 4208037 h 10394676"/>
              <a:gd name="connsiteX275" fmla="*/ 9582469 w 10375356"/>
              <a:gd name="connsiteY275" fmla="*/ 4371093 h 10394676"/>
              <a:gd name="connsiteX276" fmla="*/ 9745526 w 10375356"/>
              <a:gd name="connsiteY276" fmla="*/ 4534147 h 10394676"/>
              <a:gd name="connsiteX277" fmla="*/ 9908582 w 10375356"/>
              <a:gd name="connsiteY277" fmla="*/ 4371093 h 10394676"/>
              <a:gd name="connsiteX278" fmla="*/ 9745526 w 10375356"/>
              <a:gd name="connsiteY278" fmla="*/ 4208037 h 10394676"/>
              <a:gd name="connsiteX279" fmla="*/ 1498539 w 10375356"/>
              <a:gd name="connsiteY279" fmla="*/ 4208037 h 10394676"/>
              <a:gd name="connsiteX280" fmla="*/ 1335482 w 10375356"/>
              <a:gd name="connsiteY280" fmla="*/ 4371093 h 10394676"/>
              <a:gd name="connsiteX281" fmla="*/ 1498539 w 10375356"/>
              <a:gd name="connsiteY281" fmla="*/ 4534147 h 10394676"/>
              <a:gd name="connsiteX282" fmla="*/ 1661593 w 10375356"/>
              <a:gd name="connsiteY282" fmla="*/ 4371093 h 10394676"/>
              <a:gd name="connsiteX283" fmla="*/ 1498539 w 10375356"/>
              <a:gd name="connsiteY283" fmla="*/ 4208037 h 10394676"/>
              <a:gd name="connsiteX284" fmla="*/ 8870376 w 10375356"/>
              <a:gd name="connsiteY284" fmla="*/ 4115043 h 10394676"/>
              <a:gd name="connsiteX285" fmla="*/ 8972285 w 10375356"/>
              <a:gd name="connsiteY285" fmla="*/ 4115043 h 10394676"/>
              <a:gd name="connsiteX286" fmla="*/ 8972285 w 10375356"/>
              <a:gd name="connsiteY286" fmla="*/ 4625865 h 10394676"/>
              <a:gd name="connsiteX287" fmla="*/ 8870376 w 10375356"/>
              <a:gd name="connsiteY287" fmla="*/ 4625865 h 10394676"/>
              <a:gd name="connsiteX288" fmla="*/ 623387 w 10375356"/>
              <a:gd name="connsiteY288" fmla="*/ 4115043 h 10394676"/>
              <a:gd name="connsiteX289" fmla="*/ 725297 w 10375356"/>
              <a:gd name="connsiteY289" fmla="*/ 4115043 h 10394676"/>
              <a:gd name="connsiteX290" fmla="*/ 725297 w 10375356"/>
              <a:gd name="connsiteY290" fmla="*/ 4625865 h 10394676"/>
              <a:gd name="connsiteX291" fmla="*/ 623387 w 10375356"/>
              <a:gd name="connsiteY291" fmla="*/ 4625865 h 10394676"/>
              <a:gd name="connsiteX292" fmla="*/ 9744252 w 10375356"/>
              <a:gd name="connsiteY292" fmla="*/ 4106125 h 10394676"/>
              <a:gd name="connsiteX293" fmla="*/ 10009217 w 10375356"/>
              <a:gd name="connsiteY293" fmla="*/ 4371093 h 10394676"/>
              <a:gd name="connsiteX294" fmla="*/ 9744252 w 10375356"/>
              <a:gd name="connsiteY294" fmla="*/ 4636057 h 10394676"/>
              <a:gd name="connsiteX295" fmla="*/ 9479286 w 10375356"/>
              <a:gd name="connsiteY295" fmla="*/ 4371093 h 10394676"/>
              <a:gd name="connsiteX296" fmla="*/ 9744252 w 10375356"/>
              <a:gd name="connsiteY296" fmla="*/ 4106125 h 10394676"/>
              <a:gd name="connsiteX297" fmla="*/ 1499812 w 10375356"/>
              <a:gd name="connsiteY297" fmla="*/ 4106125 h 10394676"/>
              <a:gd name="connsiteX298" fmla="*/ 1764778 w 10375356"/>
              <a:gd name="connsiteY298" fmla="*/ 4371093 h 10394676"/>
              <a:gd name="connsiteX299" fmla="*/ 1499812 w 10375356"/>
              <a:gd name="connsiteY299" fmla="*/ 4636057 h 10394676"/>
              <a:gd name="connsiteX300" fmla="*/ 1234846 w 10375356"/>
              <a:gd name="connsiteY300" fmla="*/ 4371093 h 10394676"/>
              <a:gd name="connsiteX301" fmla="*/ 1499812 w 10375356"/>
              <a:gd name="connsiteY301" fmla="*/ 4106125 h 10394676"/>
              <a:gd name="connsiteX302" fmla="*/ 9489477 w 10375356"/>
              <a:gd name="connsiteY302" fmla="*/ 3495941 h 10394676"/>
              <a:gd name="connsiteX303" fmla="*/ 10000300 w 10375356"/>
              <a:gd name="connsiteY303" fmla="*/ 3495941 h 10394676"/>
              <a:gd name="connsiteX304" fmla="*/ 10000300 w 10375356"/>
              <a:gd name="connsiteY304" fmla="*/ 3597851 h 10394676"/>
              <a:gd name="connsiteX305" fmla="*/ 9489477 w 10375356"/>
              <a:gd name="connsiteY305" fmla="*/ 3597851 h 10394676"/>
              <a:gd name="connsiteX306" fmla="*/ 2066685 w 10375356"/>
              <a:gd name="connsiteY306" fmla="*/ 3495941 h 10394676"/>
              <a:gd name="connsiteX307" fmla="*/ 2154931 w 10375356"/>
              <a:gd name="connsiteY307" fmla="*/ 3495941 h 10394676"/>
              <a:gd name="connsiteX308" fmla="*/ 2133958 w 10375356"/>
              <a:gd name="connsiteY308" fmla="*/ 3530464 h 10394676"/>
              <a:gd name="connsiteX309" fmla="*/ 2101496 w 10375356"/>
              <a:gd name="connsiteY309" fmla="*/ 3597851 h 10394676"/>
              <a:gd name="connsiteX310" fmla="*/ 2066685 w 10375356"/>
              <a:gd name="connsiteY310" fmla="*/ 3597851 h 10394676"/>
              <a:gd name="connsiteX311" fmla="*/ 674343 w 10375356"/>
              <a:gd name="connsiteY311" fmla="*/ 3383841 h 10394676"/>
              <a:gd name="connsiteX312" fmla="*/ 511289 w 10375356"/>
              <a:gd name="connsiteY312" fmla="*/ 3546897 h 10394676"/>
              <a:gd name="connsiteX313" fmla="*/ 674343 w 10375356"/>
              <a:gd name="connsiteY313" fmla="*/ 3709953 h 10394676"/>
              <a:gd name="connsiteX314" fmla="*/ 837399 w 10375356"/>
              <a:gd name="connsiteY314" fmla="*/ 3546897 h 10394676"/>
              <a:gd name="connsiteX315" fmla="*/ 674343 w 10375356"/>
              <a:gd name="connsiteY315" fmla="*/ 3383841 h 10394676"/>
              <a:gd name="connsiteX316" fmla="*/ 8870376 w 10375356"/>
              <a:gd name="connsiteY316" fmla="*/ 3292121 h 10394676"/>
              <a:gd name="connsiteX317" fmla="*/ 8972285 w 10375356"/>
              <a:gd name="connsiteY317" fmla="*/ 3292121 h 10394676"/>
              <a:gd name="connsiteX318" fmla="*/ 8972285 w 10375356"/>
              <a:gd name="connsiteY318" fmla="*/ 3802945 h 10394676"/>
              <a:gd name="connsiteX319" fmla="*/ 8870376 w 10375356"/>
              <a:gd name="connsiteY319" fmla="*/ 3802945 h 10394676"/>
              <a:gd name="connsiteX320" fmla="*/ 8142327 w 10375356"/>
              <a:gd name="connsiteY320" fmla="*/ 3292121 h 10394676"/>
              <a:gd name="connsiteX321" fmla="*/ 8148089 w 10375356"/>
              <a:gd name="connsiteY321" fmla="*/ 3292121 h 10394676"/>
              <a:gd name="connsiteX322" fmla="*/ 8148089 w 10375356"/>
              <a:gd name="connsiteY322" fmla="*/ 3301606 h 10394676"/>
              <a:gd name="connsiteX323" fmla="*/ 1447583 w 10375356"/>
              <a:gd name="connsiteY323" fmla="*/ 3292121 h 10394676"/>
              <a:gd name="connsiteX324" fmla="*/ 1549493 w 10375356"/>
              <a:gd name="connsiteY324" fmla="*/ 3292121 h 10394676"/>
              <a:gd name="connsiteX325" fmla="*/ 1549493 w 10375356"/>
              <a:gd name="connsiteY325" fmla="*/ 3802945 h 10394676"/>
              <a:gd name="connsiteX326" fmla="*/ 1447583 w 10375356"/>
              <a:gd name="connsiteY326" fmla="*/ 3802945 h 10394676"/>
              <a:gd name="connsiteX327" fmla="*/ 675617 w 10375356"/>
              <a:gd name="connsiteY327" fmla="*/ 3281931 h 10394676"/>
              <a:gd name="connsiteX328" fmla="*/ 940583 w 10375356"/>
              <a:gd name="connsiteY328" fmla="*/ 3546897 h 10394676"/>
              <a:gd name="connsiteX329" fmla="*/ 675617 w 10375356"/>
              <a:gd name="connsiteY329" fmla="*/ 3811861 h 10394676"/>
              <a:gd name="connsiteX330" fmla="*/ 410652 w 10375356"/>
              <a:gd name="connsiteY330" fmla="*/ 3546897 h 10394676"/>
              <a:gd name="connsiteX331" fmla="*/ 675617 w 10375356"/>
              <a:gd name="connsiteY331" fmla="*/ 3281931 h 10394676"/>
              <a:gd name="connsiteX332" fmla="*/ 1242482 w 10375356"/>
              <a:gd name="connsiteY332" fmla="*/ 2671745 h 10394676"/>
              <a:gd name="connsiteX333" fmla="*/ 1753305 w 10375356"/>
              <a:gd name="connsiteY333" fmla="*/ 2671745 h 10394676"/>
              <a:gd name="connsiteX334" fmla="*/ 1753305 w 10375356"/>
              <a:gd name="connsiteY334" fmla="*/ 2773657 h 10394676"/>
              <a:gd name="connsiteX335" fmla="*/ 1242482 w 10375356"/>
              <a:gd name="connsiteY335" fmla="*/ 2773657 h 10394676"/>
              <a:gd name="connsiteX336" fmla="*/ 8921331 w 10375356"/>
              <a:gd name="connsiteY336" fmla="*/ 2560919 h 10394676"/>
              <a:gd name="connsiteX337" fmla="*/ 8758275 w 10375356"/>
              <a:gd name="connsiteY337" fmla="*/ 2723975 h 10394676"/>
              <a:gd name="connsiteX338" fmla="*/ 8921331 w 10375356"/>
              <a:gd name="connsiteY338" fmla="*/ 2887029 h 10394676"/>
              <a:gd name="connsiteX339" fmla="*/ 9084386 w 10375356"/>
              <a:gd name="connsiteY339" fmla="*/ 2723975 h 10394676"/>
              <a:gd name="connsiteX340" fmla="*/ 8921331 w 10375356"/>
              <a:gd name="connsiteY340" fmla="*/ 2560919 h 10394676"/>
              <a:gd name="connsiteX341" fmla="*/ 2322726 w 10375356"/>
              <a:gd name="connsiteY341" fmla="*/ 2560919 h 10394676"/>
              <a:gd name="connsiteX342" fmla="*/ 2159671 w 10375356"/>
              <a:gd name="connsiteY342" fmla="*/ 2723975 h 10394676"/>
              <a:gd name="connsiteX343" fmla="*/ 2322726 w 10375356"/>
              <a:gd name="connsiteY343" fmla="*/ 2887029 h 10394676"/>
              <a:gd name="connsiteX344" fmla="*/ 2485782 w 10375356"/>
              <a:gd name="connsiteY344" fmla="*/ 2723975 h 10394676"/>
              <a:gd name="connsiteX345" fmla="*/ 2322726 w 10375356"/>
              <a:gd name="connsiteY345" fmla="*/ 2560919 h 10394676"/>
              <a:gd name="connsiteX346" fmla="*/ 9694571 w 10375356"/>
              <a:gd name="connsiteY346" fmla="*/ 2553886 h 10394676"/>
              <a:gd name="connsiteX347" fmla="*/ 9792198 w 10375356"/>
              <a:gd name="connsiteY347" fmla="*/ 2714584 h 10394676"/>
              <a:gd name="connsiteX348" fmla="*/ 9796481 w 10375356"/>
              <a:gd name="connsiteY348" fmla="*/ 2723476 h 10394676"/>
              <a:gd name="connsiteX349" fmla="*/ 9796481 w 10375356"/>
              <a:gd name="connsiteY349" fmla="*/ 2978749 h 10394676"/>
              <a:gd name="connsiteX350" fmla="*/ 9694571 w 10375356"/>
              <a:gd name="connsiteY350" fmla="*/ 2978749 h 10394676"/>
              <a:gd name="connsiteX351" fmla="*/ 772671 w 10375356"/>
              <a:gd name="connsiteY351" fmla="*/ 2477905 h 10394676"/>
              <a:gd name="connsiteX352" fmla="*/ 778813 w 10375356"/>
              <a:gd name="connsiteY352" fmla="*/ 2479809 h 10394676"/>
              <a:gd name="connsiteX353" fmla="*/ 940575 w 10375356"/>
              <a:gd name="connsiteY353" fmla="*/ 2723975 h 10394676"/>
              <a:gd name="connsiteX354" fmla="*/ 675608 w 10375356"/>
              <a:gd name="connsiteY354" fmla="*/ 2988941 h 10394676"/>
              <a:gd name="connsiteX355" fmla="*/ 527394 w 10375356"/>
              <a:gd name="connsiteY355" fmla="*/ 2942835 h 10394676"/>
              <a:gd name="connsiteX356" fmla="*/ 521341 w 10375356"/>
              <a:gd name="connsiteY356" fmla="*/ 2937832 h 10394676"/>
              <a:gd name="connsiteX357" fmla="*/ 566336 w 10375356"/>
              <a:gd name="connsiteY357" fmla="*/ 2844427 h 10394676"/>
              <a:gd name="connsiteX358" fmla="*/ 610701 w 10375356"/>
              <a:gd name="connsiteY358" fmla="*/ 2874271 h 10394676"/>
              <a:gd name="connsiteX359" fmla="*/ 674334 w 10375356"/>
              <a:gd name="connsiteY359" fmla="*/ 2887029 h 10394676"/>
              <a:gd name="connsiteX360" fmla="*/ 837390 w 10375356"/>
              <a:gd name="connsiteY360" fmla="*/ 2723975 h 10394676"/>
              <a:gd name="connsiteX361" fmla="*/ 737968 w 10375356"/>
              <a:gd name="connsiteY361" fmla="*/ 2573678 h 10394676"/>
              <a:gd name="connsiteX362" fmla="*/ 717037 w 10375356"/>
              <a:gd name="connsiteY362" fmla="*/ 2569481 h 10394676"/>
              <a:gd name="connsiteX363" fmla="*/ 8046180 w 10375356"/>
              <a:gd name="connsiteY363" fmla="*/ 2467925 h 10394676"/>
              <a:gd name="connsiteX364" fmla="*/ 8148089 w 10375356"/>
              <a:gd name="connsiteY364" fmla="*/ 2467925 h 10394676"/>
              <a:gd name="connsiteX365" fmla="*/ 8148089 w 10375356"/>
              <a:gd name="connsiteY365" fmla="*/ 2978749 h 10394676"/>
              <a:gd name="connsiteX366" fmla="*/ 8046180 w 10375356"/>
              <a:gd name="connsiteY366" fmla="*/ 2978749 h 10394676"/>
              <a:gd name="connsiteX367" fmla="*/ 8921331 w 10375356"/>
              <a:gd name="connsiteY367" fmla="*/ 2459009 h 10394676"/>
              <a:gd name="connsiteX368" fmla="*/ 9186296 w 10375356"/>
              <a:gd name="connsiteY368" fmla="*/ 2723975 h 10394676"/>
              <a:gd name="connsiteX369" fmla="*/ 8921331 w 10375356"/>
              <a:gd name="connsiteY369" fmla="*/ 2988941 h 10394676"/>
              <a:gd name="connsiteX370" fmla="*/ 8656365 w 10375356"/>
              <a:gd name="connsiteY370" fmla="*/ 2723975 h 10394676"/>
              <a:gd name="connsiteX371" fmla="*/ 8921331 w 10375356"/>
              <a:gd name="connsiteY371" fmla="*/ 2459009 h 10394676"/>
              <a:gd name="connsiteX372" fmla="*/ 2322726 w 10375356"/>
              <a:gd name="connsiteY372" fmla="*/ 2459009 h 10394676"/>
              <a:gd name="connsiteX373" fmla="*/ 2587692 w 10375356"/>
              <a:gd name="connsiteY373" fmla="*/ 2723975 h 10394676"/>
              <a:gd name="connsiteX374" fmla="*/ 2322726 w 10375356"/>
              <a:gd name="connsiteY374" fmla="*/ 2988941 h 10394676"/>
              <a:gd name="connsiteX375" fmla="*/ 2057761 w 10375356"/>
              <a:gd name="connsiteY375" fmla="*/ 2723975 h 10394676"/>
              <a:gd name="connsiteX376" fmla="*/ 2322726 w 10375356"/>
              <a:gd name="connsiteY376" fmla="*/ 2459009 h 10394676"/>
              <a:gd name="connsiteX377" fmla="*/ 7842360 w 10375356"/>
              <a:gd name="connsiteY377" fmla="*/ 1848825 h 10394676"/>
              <a:gd name="connsiteX378" fmla="*/ 8353182 w 10375356"/>
              <a:gd name="connsiteY378" fmla="*/ 1848825 h 10394676"/>
              <a:gd name="connsiteX379" fmla="*/ 8353182 w 10375356"/>
              <a:gd name="connsiteY379" fmla="*/ 1950733 h 10394676"/>
              <a:gd name="connsiteX380" fmla="*/ 7842360 w 10375356"/>
              <a:gd name="connsiteY380" fmla="*/ 1950733 h 10394676"/>
              <a:gd name="connsiteX381" fmla="*/ 6223404 w 10375356"/>
              <a:gd name="connsiteY381" fmla="*/ 1848825 h 10394676"/>
              <a:gd name="connsiteX382" fmla="*/ 6704792 w 10375356"/>
              <a:gd name="connsiteY382" fmla="*/ 1848825 h 10394676"/>
              <a:gd name="connsiteX383" fmla="*/ 6704792 w 10375356"/>
              <a:gd name="connsiteY383" fmla="*/ 1950733 h 10394676"/>
              <a:gd name="connsiteX384" fmla="*/ 6512646 w 10375356"/>
              <a:gd name="connsiteY384" fmla="*/ 1950733 h 10394676"/>
              <a:gd name="connsiteX385" fmla="*/ 6413573 w 10375356"/>
              <a:gd name="connsiteY385" fmla="*/ 1911670 h 10394676"/>
              <a:gd name="connsiteX386" fmla="*/ 6251001 w 10375356"/>
              <a:gd name="connsiteY386" fmla="*/ 1856662 h 10394676"/>
              <a:gd name="connsiteX387" fmla="*/ 2890884 w 10375356"/>
              <a:gd name="connsiteY387" fmla="*/ 1848825 h 10394676"/>
              <a:gd name="connsiteX388" fmla="*/ 3401707 w 10375356"/>
              <a:gd name="connsiteY388" fmla="*/ 1848825 h 10394676"/>
              <a:gd name="connsiteX389" fmla="*/ 3401707 w 10375356"/>
              <a:gd name="connsiteY389" fmla="*/ 1950733 h 10394676"/>
              <a:gd name="connsiteX390" fmla="*/ 2890884 w 10375356"/>
              <a:gd name="connsiteY390" fmla="*/ 1950733 h 10394676"/>
              <a:gd name="connsiteX391" fmla="*/ 1242493 w 10375356"/>
              <a:gd name="connsiteY391" fmla="*/ 1848825 h 10394676"/>
              <a:gd name="connsiteX392" fmla="*/ 1753316 w 10375356"/>
              <a:gd name="connsiteY392" fmla="*/ 1848825 h 10394676"/>
              <a:gd name="connsiteX393" fmla="*/ 1753316 w 10375356"/>
              <a:gd name="connsiteY393" fmla="*/ 1950733 h 10394676"/>
              <a:gd name="connsiteX394" fmla="*/ 1242493 w 10375356"/>
              <a:gd name="connsiteY394" fmla="*/ 1950733 h 10394676"/>
              <a:gd name="connsiteX395" fmla="*/ 8921331 w 10375356"/>
              <a:gd name="connsiteY395" fmla="*/ 1736725 h 10394676"/>
              <a:gd name="connsiteX396" fmla="*/ 8758275 w 10375356"/>
              <a:gd name="connsiteY396" fmla="*/ 1899781 h 10394676"/>
              <a:gd name="connsiteX397" fmla="*/ 8921331 w 10375356"/>
              <a:gd name="connsiteY397" fmla="*/ 2062835 h 10394676"/>
              <a:gd name="connsiteX398" fmla="*/ 9084386 w 10375356"/>
              <a:gd name="connsiteY398" fmla="*/ 1899781 h 10394676"/>
              <a:gd name="connsiteX399" fmla="*/ 8921331 w 10375356"/>
              <a:gd name="connsiteY399" fmla="*/ 1736725 h 10394676"/>
              <a:gd name="connsiteX400" fmla="*/ 7223258 w 10375356"/>
              <a:gd name="connsiteY400" fmla="*/ 1643731 h 10394676"/>
              <a:gd name="connsiteX401" fmla="*/ 7325168 w 10375356"/>
              <a:gd name="connsiteY401" fmla="*/ 1643731 h 10394676"/>
              <a:gd name="connsiteX402" fmla="*/ 7325168 w 10375356"/>
              <a:gd name="connsiteY402" fmla="*/ 2154553 h 10394676"/>
              <a:gd name="connsiteX403" fmla="*/ 7223258 w 10375356"/>
              <a:gd name="connsiteY403" fmla="*/ 2154553 h 10394676"/>
              <a:gd name="connsiteX404" fmla="*/ 2271782 w 10375356"/>
              <a:gd name="connsiteY404" fmla="*/ 1643731 h 10394676"/>
              <a:gd name="connsiteX405" fmla="*/ 2373691 w 10375356"/>
              <a:gd name="connsiteY405" fmla="*/ 1643731 h 10394676"/>
              <a:gd name="connsiteX406" fmla="*/ 2373691 w 10375356"/>
              <a:gd name="connsiteY406" fmla="*/ 2154553 h 10394676"/>
              <a:gd name="connsiteX407" fmla="*/ 2271782 w 10375356"/>
              <a:gd name="connsiteY407" fmla="*/ 2154553 h 10394676"/>
              <a:gd name="connsiteX408" fmla="*/ 8921331 w 10375356"/>
              <a:gd name="connsiteY408" fmla="*/ 1634813 h 10394676"/>
              <a:gd name="connsiteX409" fmla="*/ 9024534 w 10375356"/>
              <a:gd name="connsiteY409" fmla="*/ 1655614 h 10394676"/>
              <a:gd name="connsiteX410" fmla="*/ 9036119 w 10375356"/>
              <a:gd name="connsiteY410" fmla="*/ 1661896 h 10394676"/>
              <a:gd name="connsiteX411" fmla="*/ 9067478 w 10375356"/>
              <a:gd name="connsiteY411" fmla="*/ 1694788 h 10394676"/>
              <a:gd name="connsiteX412" fmla="*/ 9168482 w 10375356"/>
              <a:gd name="connsiteY412" fmla="*/ 1811390 h 10394676"/>
              <a:gd name="connsiteX413" fmla="*/ 9186296 w 10375356"/>
              <a:gd name="connsiteY413" fmla="*/ 1899781 h 10394676"/>
              <a:gd name="connsiteX414" fmla="*/ 8921331 w 10375356"/>
              <a:gd name="connsiteY414" fmla="*/ 2164745 h 10394676"/>
              <a:gd name="connsiteX415" fmla="*/ 8656365 w 10375356"/>
              <a:gd name="connsiteY415" fmla="*/ 1899781 h 10394676"/>
              <a:gd name="connsiteX416" fmla="*/ 8921331 w 10375356"/>
              <a:gd name="connsiteY416" fmla="*/ 1634813 h 10394676"/>
              <a:gd name="connsiteX417" fmla="*/ 3969851 w 10375356"/>
              <a:gd name="connsiteY417" fmla="*/ 1634813 h 10394676"/>
              <a:gd name="connsiteX418" fmla="*/ 4214017 w 10375356"/>
              <a:gd name="connsiteY418" fmla="*/ 1796577 h 10394676"/>
              <a:gd name="connsiteX419" fmla="*/ 4223093 w 10375356"/>
              <a:gd name="connsiteY419" fmla="*/ 1841608 h 10394676"/>
              <a:gd name="connsiteX420" fmla="*/ 4170081 w 10375356"/>
              <a:gd name="connsiteY420" fmla="*/ 1856662 h 10394676"/>
              <a:gd name="connsiteX421" fmla="*/ 4127174 w 10375356"/>
              <a:gd name="connsiteY421" fmla="*/ 1871180 h 10394676"/>
              <a:gd name="connsiteX422" fmla="*/ 4120150 w 10375356"/>
              <a:gd name="connsiteY422" fmla="*/ 1836147 h 10394676"/>
              <a:gd name="connsiteX423" fmla="*/ 3969851 w 10375356"/>
              <a:gd name="connsiteY423" fmla="*/ 1736725 h 10394676"/>
              <a:gd name="connsiteX424" fmla="*/ 3806796 w 10375356"/>
              <a:gd name="connsiteY424" fmla="*/ 1899781 h 10394676"/>
              <a:gd name="connsiteX425" fmla="*/ 3819555 w 10375356"/>
              <a:gd name="connsiteY425" fmla="*/ 1963414 h 10394676"/>
              <a:gd name="connsiteX426" fmla="*/ 3832208 w 10375356"/>
              <a:gd name="connsiteY426" fmla="*/ 1982224 h 10394676"/>
              <a:gd name="connsiteX427" fmla="*/ 3741230 w 10375356"/>
              <a:gd name="connsiteY427" fmla="*/ 2026051 h 10394676"/>
              <a:gd name="connsiteX428" fmla="*/ 3725686 w 10375356"/>
              <a:gd name="connsiteY428" fmla="*/ 2002984 h 10394676"/>
              <a:gd name="connsiteX429" fmla="*/ 3704886 w 10375356"/>
              <a:gd name="connsiteY429" fmla="*/ 1899781 h 10394676"/>
              <a:gd name="connsiteX430" fmla="*/ 3969851 w 10375356"/>
              <a:gd name="connsiteY430" fmla="*/ 1634813 h 10394676"/>
              <a:gd name="connsiteX431" fmla="*/ 7842360 w 10375356"/>
              <a:gd name="connsiteY431" fmla="*/ 1024629 h 10394676"/>
              <a:gd name="connsiteX432" fmla="*/ 8330359 w 10375356"/>
              <a:gd name="connsiteY432" fmla="*/ 1024629 h 10394676"/>
              <a:gd name="connsiteX433" fmla="*/ 8353182 w 10375356"/>
              <a:gd name="connsiteY433" fmla="*/ 1042565 h 10394676"/>
              <a:gd name="connsiteX434" fmla="*/ 8353182 w 10375356"/>
              <a:gd name="connsiteY434" fmla="*/ 1126539 h 10394676"/>
              <a:gd name="connsiteX435" fmla="*/ 7842360 w 10375356"/>
              <a:gd name="connsiteY435" fmla="*/ 1126539 h 10394676"/>
              <a:gd name="connsiteX436" fmla="*/ 5371048 w 10375356"/>
              <a:gd name="connsiteY436" fmla="*/ 1024629 h 10394676"/>
              <a:gd name="connsiteX437" fmla="*/ 5881870 w 10375356"/>
              <a:gd name="connsiteY437" fmla="*/ 1024629 h 10394676"/>
              <a:gd name="connsiteX438" fmla="*/ 5881870 w 10375356"/>
              <a:gd name="connsiteY438" fmla="*/ 1126539 h 10394676"/>
              <a:gd name="connsiteX439" fmla="*/ 5371048 w 10375356"/>
              <a:gd name="connsiteY439" fmla="*/ 1126539 h 10394676"/>
              <a:gd name="connsiteX440" fmla="*/ 4538001 w 10375356"/>
              <a:gd name="connsiteY440" fmla="*/ 1024629 h 10394676"/>
              <a:gd name="connsiteX441" fmla="*/ 5048825 w 10375356"/>
              <a:gd name="connsiteY441" fmla="*/ 1024629 h 10394676"/>
              <a:gd name="connsiteX442" fmla="*/ 5048825 w 10375356"/>
              <a:gd name="connsiteY442" fmla="*/ 1126539 h 10394676"/>
              <a:gd name="connsiteX443" fmla="*/ 4538001 w 10375356"/>
              <a:gd name="connsiteY443" fmla="*/ 1126539 h 10394676"/>
              <a:gd name="connsiteX444" fmla="*/ 2890886 w 10375356"/>
              <a:gd name="connsiteY444" fmla="*/ 1024629 h 10394676"/>
              <a:gd name="connsiteX445" fmla="*/ 3401709 w 10375356"/>
              <a:gd name="connsiteY445" fmla="*/ 1024629 h 10394676"/>
              <a:gd name="connsiteX446" fmla="*/ 3401709 w 10375356"/>
              <a:gd name="connsiteY446" fmla="*/ 1126539 h 10394676"/>
              <a:gd name="connsiteX447" fmla="*/ 2890886 w 10375356"/>
              <a:gd name="connsiteY447" fmla="*/ 1126539 h 10394676"/>
              <a:gd name="connsiteX448" fmla="*/ 6450017 w 10375356"/>
              <a:gd name="connsiteY448" fmla="*/ 912529 h 10394676"/>
              <a:gd name="connsiteX449" fmla="*/ 6286962 w 10375356"/>
              <a:gd name="connsiteY449" fmla="*/ 1075585 h 10394676"/>
              <a:gd name="connsiteX450" fmla="*/ 6450017 w 10375356"/>
              <a:gd name="connsiteY450" fmla="*/ 1238639 h 10394676"/>
              <a:gd name="connsiteX451" fmla="*/ 6613073 w 10375356"/>
              <a:gd name="connsiteY451" fmla="*/ 1075585 h 10394676"/>
              <a:gd name="connsiteX452" fmla="*/ 6450017 w 10375356"/>
              <a:gd name="connsiteY452" fmla="*/ 912529 h 10394676"/>
              <a:gd name="connsiteX453" fmla="*/ 2373692 w 10375356"/>
              <a:gd name="connsiteY453" fmla="*/ 828587 h 10394676"/>
              <a:gd name="connsiteX454" fmla="*/ 2373692 w 10375356"/>
              <a:gd name="connsiteY454" fmla="*/ 1331633 h 10394676"/>
              <a:gd name="connsiteX455" fmla="*/ 2271782 w 10375356"/>
              <a:gd name="connsiteY455" fmla="*/ 1331633 h 10394676"/>
              <a:gd name="connsiteX456" fmla="*/ 2271782 w 10375356"/>
              <a:gd name="connsiteY456" fmla="*/ 895706 h 10394676"/>
              <a:gd name="connsiteX457" fmla="*/ 2297278 w 10375356"/>
              <a:gd name="connsiteY457" fmla="*/ 877575 h 10394676"/>
              <a:gd name="connsiteX458" fmla="*/ 7223258 w 10375356"/>
              <a:gd name="connsiteY458" fmla="*/ 820809 h 10394676"/>
              <a:gd name="connsiteX459" fmla="*/ 7325168 w 10375356"/>
              <a:gd name="connsiteY459" fmla="*/ 820809 h 10394676"/>
              <a:gd name="connsiteX460" fmla="*/ 7325168 w 10375356"/>
              <a:gd name="connsiteY460" fmla="*/ 1331633 h 10394676"/>
              <a:gd name="connsiteX461" fmla="*/ 7223258 w 10375356"/>
              <a:gd name="connsiteY461" fmla="*/ 1331633 h 10394676"/>
              <a:gd name="connsiteX462" fmla="*/ 3918899 w 10375356"/>
              <a:gd name="connsiteY462" fmla="*/ 820809 h 10394676"/>
              <a:gd name="connsiteX463" fmla="*/ 4020808 w 10375356"/>
              <a:gd name="connsiteY463" fmla="*/ 820809 h 10394676"/>
              <a:gd name="connsiteX464" fmla="*/ 4020808 w 10375356"/>
              <a:gd name="connsiteY464" fmla="*/ 1331633 h 10394676"/>
              <a:gd name="connsiteX465" fmla="*/ 3918899 w 10375356"/>
              <a:gd name="connsiteY465" fmla="*/ 1331633 h 10394676"/>
              <a:gd name="connsiteX466" fmla="*/ 6451292 w 10375356"/>
              <a:gd name="connsiteY466" fmla="*/ 810617 h 10394676"/>
              <a:gd name="connsiteX467" fmla="*/ 6716257 w 10375356"/>
              <a:gd name="connsiteY467" fmla="*/ 1075585 h 10394676"/>
              <a:gd name="connsiteX468" fmla="*/ 6451292 w 10375356"/>
              <a:gd name="connsiteY468" fmla="*/ 1340549 h 10394676"/>
              <a:gd name="connsiteX469" fmla="*/ 6186326 w 10375356"/>
              <a:gd name="connsiteY469" fmla="*/ 1075585 h 10394676"/>
              <a:gd name="connsiteX470" fmla="*/ 6451292 w 10375356"/>
              <a:gd name="connsiteY470" fmla="*/ 810617 h 10394676"/>
              <a:gd name="connsiteX471" fmla="*/ 6399063 w 10375356"/>
              <a:gd name="connsiteY471" fmla="*/ 125503 h 10394676"/>
              <a:gd name="connsiteX472" fmla="*/ 6500973 w 10375356"/>
              <a:gd name="connsiteY472" fmla="*/ 149024 h 10394676"/>
              <a:gd name="connsiteX473" fmla="*/ 6500973 w 10375356"/>
              <a:gd name="connsiteY473" fmla="*/ 508711 h 10394676"/>
              <a:gd name="connsiteX474" fmla="*/ 6399063 w 10375356"/>
              <a:gd name="connsiteY474" fmla="*/ 508711 h 10394676"/>
              <a:gd name="connsiteX475" fmla="*/ 4743094 w 10375356"/>
              <a:gd name="connsiteY475" fmla="*/ 101073 h 10394676"/>
              <a:gd name="connsiteX476" fmla="*/ 4845004 w 10375356"/>
              <a:gd name="connsiteY476" fmla="*/ 101073 h 10394676"/>
              <a:gd name="connsiteX477" fmla="*/ 4845004 w 10375356"/>
              <a:gd name="connsiteY477" fmla="*/ 508711 h 10394676"/>
              <a:gd name="connsiteX478" fmla="*/ 4743094 w 10375356"/>
              <a:gd name="connsiteY478" fmla="*/ 508711 h 10394676"/>
              <a:gd name="connsiteX479" fmla="*/ 4174642 w 10375356"/>
              <a:gd name="connsiteY479" fmla="*/ 91020 h 10394676"/>
              <a:gd name="connsiteX480" fmla="*/ 4214021 w 10375356"/>
              <a:gd name="connsiteY480" fmla="*/ 149458 h 10394676"/>
              <a:gd name="connsiteX481" fmla="*/ 4234820 w 10375356"/>
              <a:gd name="connsiteY481" fmla="*/ 252661 h 10394676"/>
              <a:gd name="connsiteX482" fmla="*/ 3969854 w 10375356"/>
              <a:gd name="connsiteY482" fmla="*/ 517629 h 10394676"/>
              <a:gd name="connsiteX483" fmla="*/ 3704889 w 10375356"/>
              <a:gd name="connsiteY483" fmla="*/ 252661 h 10394676"/>
              <a:gd name="connsiteX484" fmla="*/ 3714113 w 10375356"/>
              <a:gd name="connsiteY484" fmla="*/ 206895 h 10394676"/>
              <a:gd name="connsiteX485" fmla="*/ 3829928 w 10375356"/>
              <a:gd name="connsiteY485" fmla="*/ 174007 h 10394676"/>
              <a:gd name="connsiteX486" fmla="*/ 3819737 w 10375356"/>
              <a:gd name="connsiteY486" fmla="*/ 189028 h 10394676"/>
              <a:gd name="connsiteX487" fmla="*/ 3806799 w 10375356"/>
              <a:gd name="connsiteY487" fmla="*/ 252661 h 10394676"/>
              <a:gd name="connsiteX488" fmla="*/ 3969854 w 10375356"/>
              <a:gd name="connsiteY488" fmla="*/ 415717 h 10394676"/>
              <a:gd name="connsiteX489" fmla="*/ 4132911 w 10375356"/>
              <a:gd name="connsiteY489" fmla="*/ 252661 h 10394676"/>
              <a:gd name="connsiteX490" fmla="*/ 4085300 w 10375356"/>
              <a:gd name="connsiteY490" fmla="*/ 137218 h 10394676"/>
              <a:gd name="connsiteX491" fmla="*/ 4056168 w 10375356"/>
              <a:gd name="connsiteY491" fmla="*/ 117622 h 10394676"/>
              <a:gd name="connsiteX492" fmla="*/ 4160436 w 10375356"/>
              <a:gd name="connsiteY492" fmla="*/ 93557 h 10394676"/>
              <a:gd name="connsiteX493" fmla="*/ 5625822 w 10375356"/>
              <a:gd name="connsiteY493" fmla="*/ 89607 h 10394676"/>
              <a:gd name="connsiteX494" fmla="*/ 5462766 w 10375356"/>
              <a:gd name="connsiteY494" fmla="*/ 252661 h 10394676"/>
              <a:gd name="connsiteX495" fmla="*/ 5625822 w 10375356"/>
              <a:gd name="connsiteY495" fmla="*/ 415717 h 10394676"/>
              <a:gd name="connsiteX496" fmla="*/ 5788878 w 10375356"/>
              <a:gd name="connsiteY496" fmla="*/ 252661 h 10394676"/>
              <a:gd name="connsiteX497" fmla="*/ 5625822 w 10375356"/>
              <a:gd name="connsiteY497" fmla="*/ 89607 h 10394676"/>
              <a:gd name="connsiteX498" fmla="*/ 5551305 w 10375356"/>
              <a:gd name="connsiteY498" fmla="*/ 0 h 10394676"/>
              <a:gd name="connsiteX499" fmla="*/ 5741268 w 10375356"/>
              <a:gd name="connsiteY499" fmla="*/ 14445 h 10394676"/>
              <a:gd name="connsiteX500" fmla="*/ 5775311 w 10375356"/>
              <a:gd name="connsiteY500" fmla="*/ 32907 h 10394676"/>
              <a:gd name="connsiteX501" fmla="*/ 5892062 w 10375356"/>
              <a:gd name="connsiteY501" fmla="*/ 252661 h 10394676"/>
              <a:gd name="connsiteX502" fmla="*/ 5627096 w 10375356"/>
              <a:gd name="connsiteY502" fmla="*/ 517629 h 10394676"/>
              <a:gd name="connsiteX503" fmla="*/ 5362131 w 10375356"/>
              <a:gd name="connsiteY503" fmla="*/ 252661 h 10394676"/>
              <a:gd name="connsiteX504" fmla="*/ 5523893 w 10375356"/>
              <a:gd name="connsiteY504" fmla="*/ 8497 h 10394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</a:cxnLst>
            <a:rect l="l" t="t" r="r" b="b"/>
            <a:pathLst>
              <a:path w="10375356" h="10394676">
                <a:moveTo>
                  <a:pt x="6202887" y="10086957"/>
                </a:moveTo>
                <a:lnTo>
                  <a:pt x="6713710" y="10086957"/>
                </a:lnTo>
                <a:lnTo>
                  <a:pt x="6713710" y="10187665"/>
                </a:lnTo>
                <a:lnTo>
                  <a:pt x="6709472" y="10188869"/>
                </a:lnTo>
                <a:lnTo>
                  <a:pt x="6202887" y="10188869"/>
                </a:lnTo>
                <a:close/>
                <a:moveTo>
                  <a:pt x="5634740" y="9974857"/>
                </a:moveTo>
                <a:cubicBezTo>
                  <a:pt x="5544295" y="9974857"/>
                  <a:pt x="5471684" y="10047469"/>
                  <a:pt x="5471684" y="10137913"/>
                </a:cubicBezTo>
                <a:cubicBezTo>
                  <a:pt x="5471684" y="10228357"/>
                  <a:pt x="5544295" y="10300969"/>
                  <a:pt x="5634740" y="10300969"/>
                </a:cubicBezTo>
                <a:cubicBezTo>
                  <a:pt x="5725185" y="10299693"/>
                  <a:pt x="5797795" y="10227083"/>
                  <a:pt x="5797795" y="10137913"/>
                </a:cubicBezTo>
                <a:cubicBezTo>
                  <a:pt x="5797795" y="10047469"/>
                  <a:pt x="5725185" y="9974857"/>
                  <a:pt x="5634740" y="9974857"/>
                </a:cubicBezTo>
                <a:close/>
                <a:moveTo>
                  <a:pt x="7232175" y="9881865"/>
                </a:moveTo>
                <a:lnTo>
                  <a:pt x="7334085" y="9881865"/>
                </a:lnTo>
                <a:lnTo>
                  <a:pt x="7334085" y="9956193"/>
                </a:lnTo>
                <a:lnTo>
                  <a:pt x="7238719" y="9999307"/>
                </a:lnTo>
                <a:lnTo>
                  <a:pt x="7232175" y="10001887"/>
                </a:lnTo>
                <a:close/>
                <a:moveTo>
                  <a:pt x="4751991" y="9881865"/>
                </a:moveTo>
                <a:lnTo>
                  <a:pt x="4853901" y="9881865"/>
                </a:lnTo>
                <a:lnTo>
                  <a:pt x="4853901" y="10290777"/>
                </a:lnTo>
                <a:lnTo>
                  <a:pt x="4751991" y="10290777"/>
                </a:lnTo>
                <a:close/>
                <a:moveTo>
                  <a:pt x="5636013" y="9872947"/>
                </a:moveTo>
                <a:cubicBezTo>
                  <a:pt x="5782509" y="9872947"/>
                  <a:pt x="5900978" y="9991417"/>
                  <a:pt x="5900978" y="10137913"/>
                </a:cubicBezTo>
                <a:cubicBezTo>
                  <a:pt x="5900978" y="10247785"/>
                  <a:pt x="5834339" y="10341891"/>
                  <a:pt x="5739217" y="10382077"/>
                </a:cubicBezTo>
                <a:lnTo>
                  <a:pt x="5738756" y="10382220"/>
                </a:lnTo>
                <a:lnTo>
                  <a:pt x="5574951" y="10394676"/>
                </a:lnTo>
                <a:lnTo>
                  <a:pt x="5532810" y="10381361"/>
                </a:lnTo>
                <a:cubicBezTo>
                  <a:pt x="5437688" y="10340697"/>
                  <a:pt x="5371048" y="10246828"/>
                  <a:pt x="5371048" y="10137913"/>
                </a:cubicBezTo>
                <a:cubicBezTo>
                  <a:pt x="5371048" y="9991417"/>
                  <a:pt x="5489518" y="9872947"/>
                  <a:pt x="5636013" y="9872947"/>
                </a:cubicBezTo>
                <a:close/>
                <a:moveTo>
                  <a:pt x="3978752" y="9872947"/>
                </a:moveTo>
                <a:cubicBezTo>
                  <a:pt x="4125249" y="9872947"/>
                  <a:pt x="4243718" y="9991417"/>
                  <a:pt x="4243718" y="10137913"/>
                </a:cubicBezTo>
                <a:cubicBezTo>
                  <a:pt x="4243718" y="10174537"/>
                  <a:pt x="4236314" y="10209409"/>
                  <a:pt x="4222918" y="10241117"/>
                </a:cubicBezTo>
                <a:lnTo>
                  <a:pt x="4179036" y="10306239"/>
                </a:lnTo>
                <a:lnTo>
                  <a:pt x="4160436" y="10302917"/>
                </a:lnTo>
                <a:lnTo>
                  <a:pt x="4056265" y="10278875"/>
                </a:lnTo>
                <a:lnTo>
                  <a:pt x="4094199" y="10253357"/>
                </a:lnTo>
                <a:cubicBezTo>
                  <a:pt x="4123657" y="10223899"/>
                  <a:pt x="4141809" y="10183135"/>
                  <a:pt x="4141809" y="10137913"/>
                </a:cubicBezTo>
                <a:cubicBezTo>
                  <a:pt x="4141809" y="10047469"/>
                  <a:pt x="4069199" y="9974857"/>
                  <a:pt x="3978752" y="9974857"/>
                </a:cubicBezTo>
                <a:cubicBezTo>
                  <a:pt x="3889581" y="9974857"/>
                  <a:pt x="3815698" y="10047469"/>
                  <a:pt x="3815698" y="10137913"/>
                </a:cubicBezTo>
                <a:cubicBezTo>
                  <a:pt x="3815698" y="10160524"/>
                  <a:pt x="3820237" y="10182021"/>
                  <a:pt x="3828457" y="10201547"/>
                </a:cubicBezTo>
                <a:lnTo>
                  <a:pt x="3845505" y="10226891"/>
                </a:lnTo>
                <a:lnTo>
                  <a:pt x="3724813" y="10192618"/>
                </a:lnTo>
                <a:lnTo>
                  <a:pt x="3713787" y="10137913"/>
                </a:lnTo>
                <a:cubicBezTo>
                  <a:pt x="3713787" y="9991417"/>
                  <a:pt x="3832257" y="9872947"/>
                  <a:pt x="3978752" y="9872947"/>
                </a:cubicBezTo>
                <a:close/>
                <a:moveTo>
                  <a:pt x="3155832" y="9872947"/>
                </a:moveTo>
                <a:cubicBezTo>
                  <a:pt x="3265704" y="9872947"/>
                  <a:pt x="3359812" y="9939586"/>
                  <a:pt x="3399999" y="10034709"/>
                </a:cubicBezTo>
                <a:lnTo>
                  <a:pt x="3411035" y="10089469"/>
                </a:lnTo>
                <a:lnTo>
                  <a:pt x="3280434" y="10037975"/>
                </a:lnTo>
                <a:lnTo>
                  <a:pt x="3270003" y="10022469"/>
                </a:lnTo>
                <a:cubicBezTo>
                  <a:pt x="3240545" y="9993010"/>
                  <a:pt x="3199781" y="9974857"/>
                  <a:pt x="3154558" y="9974857"/>
                </a:cubicBezTo>
                <a:lnTo>
                  <a:pt x="3136355" y="9978507"/>
                </a:lnTo>
                <a:lnTo>
                  <a:pt x="3005935" y="9919545"/>
                </a:lnTo>
                <a:lnTo>
                  <a:pt x="3007618" y="9918157"/>
                </a:lnTo>
                <a:cubicBezTo>
                  <a:pt x="3049902" y="9889607"/>
                  <a:pt x="3100897" y="9872947"/>
                  <a:pt x="3155832" y="9872947"/>
                </a:cubicBezTo>
                <a:close/>
                <a:moveTo>
                  <a:pt x="7851277" y="9262761"/>
                </a:moveTo>
                <a:lnTo>
                  <a:pt x="8362099" y="9262761"/>
                </a:lnTo>
                <a:lnTo>
                  <a:pt x="8362099" y="9346902"/>
                </a:lnTo>
                <a:lnTo>
                  <a:pt x="8339488" y="9364671"/>
                </a:lnTo>
                <a:lnTo>
                  <a:pt x="7851277" y="9364671"/>
                </a:lnTo>
                <a:close/>
                <a:moveTo>
                  <a:pt x="5379965" y="9262761"/>
                </a:moveTo>
                <a:lnTo>
                  <a:pt x="5890787" y="9262761"/>
                </a:lnTo>
                <a:lnTo>
                  <a:pt x="5890787" y="9364671"/>
                </a:lnTo>
                <a:lnTo>
                  <a:pt x="5379965" y="9364671"/>
                </a:lnTo>
                <a:close/>
                <a:moveTo>
                  <a:pt x="4546902" y="9262761"/>
                </a:moveTo>
                <a:lnTo>
                  <a:pt x="5057725" y="9262761"/>
                </a:lnTo>
                <a:lnTo>
                  <a:pt x="5057725" y="9364671"/>
                </a:lnTo>
                <a:lnTo>
                  <a:pt x="4546902" y="9364671"/>
                </a:lnTo>
                <a:close/>
                <a:moveTo>
                  <a:pt x="2899787" y="9262761"/>
                </a:moveTo>
                <a:lnTo>
                  <a:pt x="3410609" y="9262761"/>
                </a:lnTo>
                <a:lnTo>
                  <a:pt x="3410609" y="9364671"/>
                </a:lnTo>
                <a:lnTo>
                  <a:pt x="2899787" y="9364671"/>
                </a:lnTo>
                <a:close/>
                <a:moveTo>
                  <a:pt x="6450017" y="9150661"/>
                </a:moveTo>
                <a:cubicBezTo>
                  <a:pt x="6359572" y="9150661"/>
                  <a:pt x="6286962" y="9223273"/>
                  <a:pt x="6286962" y="9313717"/>
                </a:cubicBezTo>
                <a:cubicBezTo>
                  <a:pt x="6286962" y="9404161"/>
                  <a:pt x="6359572" y="9476773"/>
                  <a:pt x="6450017" y="9476773"/>
                </a:cubicBezTo>
                <a:cubicBezTo>
                  <a:pt x="6540463" y="9476773"/>
                  <a:pt x="6613073" y="9404161"/>
                  <a:pt x="6613073" y="9313717"/>
                </a:cubicBezTo>
                <a:cubicBezTo>
                  <a:pt x="6613073" y="9223273"/>
                  <a:pt x="6540463" y="9150661"/>
                  <a:pt x="6450017" y="9150661"/>
                </a:cubicBezTo>
                <a:close/>
                <a:moveTo>
                  <a:pt x="3978754" y="9150661"/>
                </a:moveTo>
                <a:cubicBezTo>
                  <a:pt x="3889583" y="9150661"/>
                  <a:pt x="3815700" y="9223273"/>
                  <a:pt x="3815700" y="9313717"/>
                </a:cubicBezTo>
                <a:cubicBezTo>
                  <a:pt x="3815700" y="9404161"/>
                  <a:pt x="3888310" y="9476773"/>
                  <a:pt x="3978754" y="9476773"/>
                </a:cubicBezTo>
                <a:cubicBezTo>
                  <a:pt x="4069201" y="9476773"/>
                  <a:pt x="4141811" y="9404161"/>
                  <a:pt x="4141811" y="9313717"/>
                </a:cubicBezTo>
                <a:cubicBezTo>
                  <a:pt x="4141811" y="9223273"/>
                  <a:pt x="4069201" y="9150661"/>
                  <a:pt x="3978754" y="9150661"/>
                </a:cubicBezTo>
                <a:close/>
                <a:moveTo>
                  <a:pt x="7232175" y="9057669"/>
                </a:moveTo>
                <a:lnTo>
                  <a:pt x="7334085" y="9057669"/>
                </a:lnTo>
                <a:lnTo>
                  <a:pt x="7334085" y="9568493"/>
                </a:lnTo>
                <a:lnTo>
                  <a:pt x="7232175" y="9568493"/>
                </a:lnTo>
                <a:close/>
                <a:moveTo>
                  <a:pt x="2280685" y="9057669"/>
                </a:moveTo>
                <a:lnTo>
                  <a:pt x="2382595" y="9057669"/>
                </a:lnTo>
                <a:lnTo>
                  <a:pt x="2382595" y="9568493"/>
                </a:lnTo>
                <a:lnTo>
                  <a:pt x="2374638" y="9568493"/>
                </a:lnTo>
                <a:lnTo>
                  <a:pt x="2297278" y="9518899"/>
                </a:lnTo>
                <a:lnTo>
                  <a:pt x="2280685" y="9507099"/>
                </a:lnTo>
                <a:close/>
                <a:moveTo>
                  <a:pt x="6450017" y="9048751"/>
                </a:moveTo>
                <a:cubicBezTo>
                  <a:pt x="6596513" y="9048751"/>
                  <a:pt x="6714982" y="9167221"/>
                  <a:pt x="6714982" y="9313717"/>
                </a:cubicBezTo>
                <a:cubicBezTo>
                  <a:pt x="6714982" y="9460213"/>
                  <a:pt x="6596513" y="9578681"/>
                  <a:pt x="6450017" y="9578681"/>
                </a:cubicBezTo>
                <a:cubicBezTo>
                  <a:pt x="6303522" y="9578681"/>
                  <a:pt x="6185052" y="9460213"/>
                  <a:pt x="6185052" y="9313717"/>
                </a:cubicBezTo>
                <a:cubicBezTo>
                  <a:pt x="6185052" y="9167221"/>
                  <a:pt x="6303522" y="9048751"/>
                  <a:pt x="6450017" y="9048751"/>
                </a:cubicBezTo>
                <a:close/>
                <a:moveTo>
                  <a:pt x="3978754" y="9048751"/>
                </a:moveTo>
                <a:cubicBezTo>
                  <a:pt x="4125250" y="9048751"/>
                  <a:pt x="4243720" y="9167221"/>
                  <a:pt x="4243720" y="9313717"/>
                </a:cubicBezTo>
                <a:cubicBezTo>
                  <a:pt x="4243720" y="9460213"/>
                  <a:pt x="4125250" y="9578681"/>
                  <a:pt x="3978754" y="9578681"/>
                </a:cubicBezTo>
                <a:cubicBezTo>
                  <a:pt x="3832260" y="9578681"/>
                  <a:pt x="3713789" y="9460213"/>
                  <a:pt x="3713789" y="9313717"/>
                </a:cubicBezTo>
                <a:cubicBezTo>
                  <a:pt x="3713789" y="9167221"/>
                  <a:pt x="3832260" y="9048751"/>
                  <a:pt x="3978754" y="9048751"/>
                </a:cubicBezTo>
                <a:close/>
                <a:moveTo>
                  <a:pt x="5676776" y="8665264"/>
                </a:moveTo>
                <a:lnTo>
                  <a:pt x="5676776" y="8745569"/>
                </a:lnTo>
                <a:lnTo>
                  <a:pt x="5574867" y="8745569"/>
                </a:lnTo>
                <a:lnTo>
                  <a:pt x="5574867" y="8678214"/>
                </a:lnTo>
                <a:close/>
                <a:moveTo>
                  <a:pt x="3918880" y="8449859"/>
                </a:moveTo>
                <a:lnTo>
                  <a:pt x="4007509" y="8484804"/>
                </a:lnTo>
                <a:lnTo>
                  <a:pt x="4020789" y="8489298"/>
                </a:lnTo>
                <a:lnTo>
                  <a:pt x="4020789" y="8745569"/>
                </a:lnTo>
                <a:lnTo>
                  <a:pt x="3918880" y="8745569"/>
                </a:lnTo>
                <a:close/>
                <a:moveTo>
                  <a:pt x="7018165" y="8438567"/>
                </a:moveTo>
                <a:lnTo>
                  <a:pt x="7528988" y="8438567"/>
                </a:lnTo>
                <a:lnTo>
                  <a:pt x="7528988" y="8540477"/>
                </a:lnTo>
                <a:lnTo>
                  <a:pt x="7018165" y="8540477"/>
                </a:lnTo>
                <a:close/>
                <a:moveTo>
                  <a:pt x="6530840" y="8438567"/>
                </a:moveTo>
                <a:lnTo>
                  <a:pt x="6697148" y="8438567"/>
                </a:lnTo>
                <a:lnTo>
                  <a:pt x="6697148" y="8540477"/>
                </a:lnTo>
                <a:lnTo>
                  <a:pt x="6248661" y="8540477"/>
                </a:lnTo>
                <a:lnTo>
                  <a:pt x="6251001" y="8539813"/>
                </a:lnTo>
                <a:cubicBezTo>
                  <a:pt x="6305781" y="8522774"/>
                  <a:pt x="6359984" y="8504426"/>
                  <a:pt x="6413573" y="8484804"/>
                </a:cubicBezTo>
                <a:close/>
                <a:moveTo>
                  <a:pt x="2066673" y="8438567"/>
                </a:moveTo>
                <a:lnTo>
                  <a:pt x="2577496" y="8438567"/>
                </a:lnTo>
                <a:lnTo>
                  <a:pt x="2577496" y="8540477"/>
                </a:lnTo>
                <a:lnTo>
                  <a:pt x="2066673" y="8540477"/>
                </a:lnTo>
                <a:close/>
                <a:moveTo>
                  <a:pt x="1234837" y="8438567"/>
                </a:moveTo>
                <a:lnTo>
                  <a:pt x="1745660" y="8438567"/>
                </a:lnTo>
                <a:lnTo>
                  <a:pt x="1745660" y="8540477"/>
                </a:lnTo>
                <a:lnTo>
                  <a:pt x="1234837" y="8540477"/>
                </a:lnTo>
                <a:close/>
                <a:moveTo>
                  <a:pt x="8870376" y="8234747"/>
                </a:moveTo>
                <a:lnTo>
                  <a:pt x="8972285" y="8234747"/>
                </a:lnTo>
                <a:lnTo>
                  <a:pt x="8972285" y="8745569"/>
                </a:lnTo>
                <a:lnTo>
                  <a:pt x="8870376" y="8745569"/>
                </a:lnTo>
                <a:close/>
                <a:moveTo>
                  <a:pt x="8046180" y="8234747"/>
                </a:moveTo>
                <a:lnTo>
                  <a:pt x="8148089" y="8234747"/>
                </a:lnTo>
                <a:lnTo>
                  <a:pt x="8148089" y="8745569"/>
                </a:lnTo>
                <a:lnTo>
                  <a:pt x="8046180" y="8745569"/>
                </a:lnTo>
                <a:close/>
                <a:moveTo>
                  <a:pt x="3094685" y="8234747"/>
                </a:moveTo>
                <a:lnTo>
                  <a:pt x="3196595" y="8234747"/>
                </a:lnTo>
                <a:lnTo>
                  <a:pt x="3196595" y="8745569"/>
                </a:lnTo>
                <a:lnTo>
                  <a:pt x="3094685" y="8745569"/>
                </a:lnTo>
                <a:close/>
                <a:moveTo>
                  <a:pt x="9489477" y="7615645"/>
                </a:moveTo>
                <a:lnTo>
                  <a:pt x="9824110" y="7615645"/>
                </a:lnTo>
                <a:lnTo>
                  <a:pt x="9792198" y="7681890"/>
                </a:lnTo>
                <a:lnTo>
                  <a:pt x="9770531" y="7717555"/>
                </a:lnTo>
                <a:lnTo>
                  <a:pt x="9489477" y="7717555"/>
                </a:lnTo>
                <a:close/>
                <a:moveTo>
                  <a:pt x="8666557" y="7615645"/>
                </a:moveTo>
                <a:lnTo>
                  <a:pt x="9177379" y="7615645"/>
                </a:lnTo>
                <a:lnTo>
                  <a:pt x="9177379" y="7717555"/>
                </a:lnTo>
                <a:lnTo>
                  <a:pt x="8666557" y="7717555"/>
                </a:lnTo>
                <a:close/>
                <a:moveTo>
                  <a:pt x="2322721" y="7503545"/>
                </a:moveTo>
                <a:cubicBezTo>
                  <a:pt x="2232276" y="7503545"/>
                  <a:pt x="2159665" y="7576155"/>
                  <a:pt x="2159665" y="7666599"/>
                </a:cubicBezTo>
                <a:cubicBezTo>
                  <a:pt x="2159665" y="7757045"/>
                  <a:pt x="2232276" y="7829655"/>
                  <a:pt x="2322721" y="7829655"/>
                </a:cubicBezTo>
                <a:cubicBezTo>
                  <a:pt x="2411891" y="7828381"/>
                  <a:pt x="2485776" y="7755769"/>
                  <a:pt x="2485776" y="7666599"/>
                </a:cubicBezTo>
                <a:cubicBezTo>
                  <a:pt x="2485776" y="7576155"/>
                  <a:pt x="2413167" y="7503545"/>
                  <a:pt x="2322721" y="7503545"/>
                </a:cubicBezTo>
                <a:close/>
                <a:moveTo>
                  <a:pt x="8046180" y="7410553"/>
                </a:moveTo>
                <a:lnTo>
                  <a:pt x="8148089" y="7410553"/>
                </a:lnTo>
                <a:lnTo>
                  <a:pt x="8148089" y="7921375"/>
                </a:lnTo>
                <a:lnTo>
                  <a:pt x="8046180" y="7921375"/>
                </a:lnTo>
                <a:close/>
                <a:moveTo>
                  <a:pt x="1447573" y="7410553"/>
                </a:moveTo>
                <a:lnTo>
                  <a:pt x="1549483" y="7410553"/>
                </a:lnTo>
                <a:lnTo>
                  <a:pt x="1549483" y="7921375"/>
                </a:lnTo>
                <a:lnTo>
                  <a:pt x="1447573" y="7921375"/>
                </a:lnTo>
                <a:close/>
                <a:moveTo>
                  <a:pt x="2322721" y="7401633"/>
                </a:moveTo>
                <a:cubicBezTo>
                  <a:pt x="2469216" y="7401633"/>
                  <a:pt x="2587686" y="7520105"/>
                  <a:pt x="2587686" y="7666599"/>
                </a:cubicBezTo>
                <a:cubicBezTo>
                  <a:pt x="2587686" y="7813095"/>
                  <a:pt x="2469216" y="7931565"/>
                  <a:pt x="2322721" y="7931565"/>
                </a:cubicBezTo>
                <a:cubicBezTo>
                  <a:pt x="2176225" y="7930291"/>
                  <a:pt x="2057755" y="7811821"/>
                  <a:pt x="2057755" y="7666599"/>
                </a:cubicBezTo>
                <a:cubicBezTo>
                  <a:pt x="2057755" y="7520105"/>
                  <a:pt x="2176225" y="7401633"/>
                  <a:pt x="2322721" y="7401633"/>
                </a:cubicBezTo>
                <a:close/>
                <a:moveTo>
                  <a:pt x="674333" y="7401633"/>
                </a:moveTo>
                <a:cubicBezTo>
                  <a:pt x="820829" y="7401633"/>
                  <a:pt x="939299" y="7520105"/>
                  <a:pt x="939299" y="7666599"/>
                </a:cubicBezTo>
                <a:cubicBezTo>
                  <a:pt x="939299" y="7776471"/>
                  <a:pt x="872660" y="7870579"/>
                  <a:pt x="777537" y="7910765"/>
                </a:cubicBezTo>
                <a:lnTo>
                  <a:pt x="769452" y="7913271"/>
                </a:lnTo>
                <a:lnTo>
                  <a:pt x="713980" y="7821961"/>
                </a:lnTo>
                <a:lnTo>
                  <a:pt x="739241" y="7816897"/>
                </a:lnTo>
                <a:cubicBezTo>
                  <a:pt x="797819" y="7792235"/>
                  <a:pt x="838662" y="7734434"/>
                  <a:pt x="838662" y="7666599"/>
                </a:cubicBezTo>
                <a:cubicBezTo>
                  <a:pt x="838662" y="7576155"/>
                  <a:pt x="766051" y="7503545"/>
                  <a:pt x="675607" y="7503545"/>
                </a:cubicBezTo>
                <a:cubicBezTo>
                  <a:pt x="652996" y="7503545"/>
                  <a:pt x="631500" y="7508083"/>
                  <a:pt x="611973" y="7516304"/>
                </a:cubicBezTo>
                <a:lnTo>
                  <a:pt x="564501" y="7548238"/>
                </a:lnTo>
                <a:lnTo>
                  <a:pt x="518632" y="7453019"/>
                </a:lnTo>
                <a:lnTo>
                  <a:pt x="526119" y="7446844"/>
                </a:lnTo>
                <a:cubicBezTo>
                  <a:pt x="568403" y="7418293"/>
                  <a:pt x="619397" y="7401633"/>
                  <a:pt x="674333" y="7401633"/>
                </a:cubicBezTo>
                <a:close/>
                <a:moveTo>
                  <a:pt x="8148089" y="7094869"/>
                </a:moveTo>
                <a:lnTo>
                  <a:pt x="8148089" y="7097179"/>
                </a:lnTo>
                <a:lnTo>
                  <a:pt x="8146686" y="7097179"/>
                </a:lnTo>
                <a:close/>
                <a:moveTo>
                  <a:pt x="8665281" y="6791449"/>
                </a:moveTo>
                <a:lnTo>
                  <a:pt x="9176104" y="6791449"/>
                </a:lnTo>
                <a:lnTo>
                  <a:pt x="9176104" y="6893357"/>
                </a:lnTo>
                <a:lnTo>
                  <a:pt x="8665281" y="6893357"/>
                </a:lnTo>
                <a:close/>
                <a:moveTo>
                  <a:pt x="2066681" y="6791449"/>
                </a:moveTo>
                <a:lnTo>
                  <a:pt x="2098040" y="6791449"/>
                </a:lnTo>
                <a:lnTo>
                  <a:pt x="2133958" y="6866010"/>
                </a:lnTo>
                <a:lnTo>
                  <a:pt x="2150572" y="6893357"/>
                </a:lnTo>
                <a:lnTo>
                  <a:pt x="2066681" y="6893357"/>
                </a:lnTo>
                <a:close/>
                <a:moveTo>
                  <a:pt x="419562" y="6791449"/>
                </a:moveTo>
                <a:lnTo>
                  <a:pt x="930385" y="6791449"/>
                </a:lnTo>
                <a:lnTo>
                  <a:pt x="930385" y="6893357"/>
                </a:lnTo>
                <a:lnTo>
                  <a:pt x="419562" y="6893357"/>
                </a:lnTo>
                <a:close/>
                <a:moveTo>
                  <a:pt x="9745526" y="6679349"/>
                </a:moveTo>
                <a:cubicBezTo>
                  <a:pt x="9655081" y="6679349"/>
                  <a:pt x="9582469" y="6751961"/>
                  <a:pt x="9582469" y="6842405"/>
                </a:cubicBezTo>
                <a:cubicBezTo>
                  <a:pt x="9582469" y="6932849"/>
                  <a:pt x="9655081" y="7005461"/>
                  <a:pt x="9745526" y="7005461"/>
                </a:cubicBezTo>
                <a:cubicBezTo>
                  <a:pt x="9835970" y="7005461"/>
                  <a:pt x="9908582" y="6932849"/>
                  <a:pt x="9908582" y="6842405"/>
                </a:cubicBezTo>
                <a:cubicBezTo>
                  <a:pt x="9908582" y="6751961"/>
                  <a:pt x="9835970" y="6679349"/>
                  <a:pt x="9745526" y="6679349"/>
                </a:cubicBezTo>
                <a:close/>
                <a:moveTo>
                  <a:pt x="1498533" y="6679349"/>
                </a:moveTo>
                <a:cubicBezTo>
                  <a:pt x="1408088" y="6679349"/>
                  <a:pt x="1335477" y="6751961"/>
                  <a:pt x="1335477" y="6842405"/>
                </a:cubicBezTo>
                <a:cubicBezTo>
                  <a:pt x="1335477" y="6932849"/>
                  <a:pt x="1408088" y="7005461"/>
                  <a:pt x="1498533" y="7005461"/>
                </a:cubicBezTo>
                <a:cubicBezTo>
                  <a:pt x="1588977" y="7005461"/>
                  <a:pt x="1661588" y="6932849"/>
                  <a:pt x="1661588" y="6842405"/>
                </a:cubicBezTo>
                <a:cubicBezTo>
                  <a:pt x="1661588" y="6751961"/>
                  <a:pt x="1588977" y="6679349"/>
                  <a:pt x="1498533" y="6679349"/>
                </a:cubicBezTo>
                <a:close/>
                <a:moveTo>
                  <a:pt x="9744252" y="6577439"/>
                </a:moveTo>
                <a:cubicBezTo>
                  <a:pt x="9890747" y="6577439"/>
                  <a:pt x="10009217" y="6695909"/>
                  <a:pt x="10009217" y="6842405"/>
                </a:cubicBezTo>
                <a:cubicBezTo>
                  <a:pt x="10009217" y="6988901"/>
                  <a:pt x="9890747" y="7107369"/>
                  <a:pt x="9744252" y="7107369"/>
                </a:cubicBezTo>
                <a:cubicBezTo>
                  <a:pt x="9597757" y="7107369"/>
                  <a:pt x="9479286" y="6988901"/>
                  <a:pt x="9479286" y="6842405"/>
                </a:cubicBezTo>
                <a:cubicBezTo>
                  <a:pt x="9479286" y="6695909"/>
                  <a:pt x="9597757" y="6577439"/>
                  <a:pt x="9744252" y="6577439"/>
                </a:cubicBezTo>
                <a:close/>
                <a:moveTo>
                  <a:pt x="1499807" y="6577439"/>
                </a:moveTo>
                <a:cubicBezTo>
                  <a:pt x="1646302" y="6577439"/>
                  <a:pt x="1764771" y="6695909"/>
                  <a:pt x="1764771" y="6842405"/>
                </a:cubicBezTo>
                <a:cubicBezTo>
                  <a:pt x="1764771" y="6988901"/>
                  <a:pt x="1646302" y="7107369"/>
                  <a:pt x="1499807" y="7107369"/>
                </a:cubicBezTo>
                <a:cubicBezTo>
                  <a:pt x="1353311" y="7107369"/>
                  <a:pt x="1234841" y="6988901"/>
                  <a:pt x="1234841" y="6842405"/>
                </a:cubicBezTo>
                <a:cubicBezTo>
                  <a:pt x="1234841" y="6695909"/>
                  <a:pt x="1353311" y="6577439"/>
                  <a:pt x="1499807" y="6577439"/>
                </a:cubicBezTo>
                <a:close/>
                <a:moveTo>
                  <a:pt x="8921331" y="5855153"/>
                </a:moveTo>
                <a:cubicBezTo>
                  <a:pt x="8830884" y="5855153"/>
                  <a:pt x="8758274" y="5927763"/>
                  <a:pt x="8758274" y="6018209"/>
                </a:cubicBezTo>
                <a:cubicBezTo>
                  <a:pt x="8758274" y="6108653"/>
                  <a:pt x="8830884" y="6181265"/>
                  <a:pt x="8921331" y="6181265"/>
                </a:cubicBezTo>
                <a:cubicBezTo>
                  <a:pt x="9011775" y="6181265"/>
                  <a:pt x="9084385" y="6108653"/>
                  <a:pt x="9084385" y="6018209"/>
                </a:cubicBezTo>
                <a:cubicBezTo>
                  <a:pt x="9084385" y="5927763"/>
                  <a:pt x="9011775" y="5855153"/>
                  <a:pt x="8921331" y="5855153"/>
                </a:cubicBezTo>
                <a:close/>
                <a:moveTo>
                  <a:pt x="674337" y="5855153"/>
                </a:moveTo>
                <a:cubicBezTo>
                  <a:pt x="583892" y="5855153"/>
                  <a:pt x="511282" y="5927763"/>
                  <a:pt x="511282" y="6018209"/>
                </a:cubicBezTo>
                <a:cubicBezTo>
                  <a:pt x="511282" y="6108653"/>
                  <a:pt x="583892" y="6181265"/>
                  <a:pt x="674337" y="6181265"/>
                </a:cubicBezTo>
                <a:cubicBezTo>
                  <a:pt x="764782" y="6181265"/>
                  <a:pt x="837393" y="6108653"/>
                  <a:pt x="837393" y="6018209"/>
                </a:cubicBezTo>
                <a:cubicBezTo>
                  <a:pt x="837393" y="5927763"/>
                  <a:pt x="764782" y="5855153"/>
                  <a:pt x="674337" y="5855153"/>
                </a:cubicBezTo>
                <a:close/>
                <a:moveTo>
                  <a:pt x="10375356" y="5854333"/>
                </a:moveTo>
                <a:lnTo>
                  <a:pt x="10334572" y="6121561"/>
                </a:lnTo>
                <a:lnTo>
                  <a:pt x="10334472" y="6121413"/>
                </a:lnTo>
                <a:cubicBezTo>
                  <a:pt x="10321077" y="6089706"/>
                  <a:pt x="10313672" y="6054833"/>
                  <a:pt x="10313672" y="6018209"/>
                </a:cubicBezTo>
                <a:cubicBezTo>
                  <a:pt x="10313672" y="5981585"/>
                  <a:pt x="10321077" y="5946713"/>
                  <a:pt x="10334472" y="5915005"/>
                </a:cubicBezTo>
                <a:close/>
                <a:moveTo>
                  <a:pt x="9694571" y="5763433"/>
                </a:moveTo>
                <a:lnTo>
                  <a:pt x="9796481" y="5763433"/>
                </a:lnTo>
                <a:lnTo>
                  <a:pt x="9796481" y="6274257"/>
                </a:lnTo>
                <a:lnTo>
                  <a:pt x="9694571" y="6274257"/>
                </a:lnTo>
                <a:close/>
                <a:moveTo>
                  <a:pt x="1447575" y="5763433"/>
                </a:moveTo>
                <a:lnTo>
                  <a:pt x="1549485" y="5763433"/>
                </a:lnTo>
                <a:lnTo>
                  <a:pt x="1549485" y="6274257"/>
                </a:lnTo>
                <a:lnTo>
                  <a:pt x="1447575" y="6274257"/>
                </a:lnTo>
                <a:close/>
                <a:moveTo>
                  <a:pt x="8922604" y="5753243"/>
                </a:moveTo>
                <a:cubicBezTo>
                  <a:pt x="9069099" y="5753243"/>
                  <a:pt x="9187569" y="5871713"/>
                  <a:pt x="9187569" y="6018209"/>
                </a:cubicBezTo>
                <a:cubicBezTo>
                  <a:pt x="9187569" y="6164705"/>
                  <a:pt x="9069099" y="6283173"/>
                  <a:pt x="8922604" y="6283173"/>
                </a:cubicBezTo>
                <a:cubicBezTo>
                  <a:pt x="8776109" y="6283173"/>
                  <a:pt x="8657638" y="6164705"/>
                  <a:pt x="8657638" y="6018209"/>
                </a:cubicBezTo>
                <a:cubicBezTo>
                  <a:pt x="8657638" y="5871713"/>
                  <a:pt x="8776109" y="5753243"/>
                  <a:pt x="8922604" y="5753243"/>
                </a:cubicBezTo>
                <a:close/>
                <a:moveTo>
                  <a:pt x="675610" y="5753243"/>
                </a:moveTo>
                <a:cubicBezTo>
                  <a:pt x="822108" y="5753243"/>
                  <a:pt x="940577" y="5871713"/>
                  <a:pt x="940577" y="6018209"/>
                </a:cubicBezTo>
                <a:cubicBezTo>
                  <a:pt x="940577" y="6164705"/>
                  <a:pt x="822108" y="6283173"/>
                  <a:pt x="675610" y="6283173"/>
                </a:cubicBezTo>
                <a:cubicBezTo>
                  <a:pt x="529116" y="6283173"/>
                  <a:pt x="410646" y="6164705"/>
                  <a:pt x="410646" y="6018209"/>
                </a:cubicBezTo>
                <a:cubicBezTo>
                  <a:pt x="410646" y="5871713"/>
                  <a:pt x="529116" y="5753243"/>
                  <a:pt x="675610" y="5753243"/>
                </a:cubicBezTo>
                <a:close/>
                <a:moveTo>
                  <a:pt x="9489477" y="5143057"/>
                </a:moveTo>
                <a:lnTo>
                  <a:pt x="10000300" y="5143057"/>
                </a:lnTo>
                <a:lnTo>
                  <a:pt x="10000300" y="5244969"/>
                </a:lnTo>
                <a:lnTo>
                  <a:pt x="9489477" y="5244969"/>
                </a:lnTo>
                <a:close/>
                <a:moveTo>
                  <a:pt x="8706634" y="5143057"/>
                </a:moveTo>
                <a:lnTo>
                  <a:pt x="9176104" y="5143057"/>
                </a:lnTo>
                <a:lnTo>
                  <a:pt x="9176104" y="5244969"/>
                </a:lnTo>
                <a:lnTo>
                  <a:pt x="8707060" y="5244969"/>
                </a:lnTo>
                <a:lnTo>
                  <a:pt x="8709420" y="5198237"/>
                </a:lnTo>
                <a:close/>
                <a:moveTo>
                  <a:pt x="1242485" y="5143057"/>
                </a:moveTo>
                <a:lnTo>
                  <a:pt x="1714449" y="5143057"/>
                </a:lnTo>
                <a:lnTo>
                  <a:pt x="1711662" y="5198237"/>
                </a:lnTo>
                <a:lnTo>
                  <a:pt x="1714022" y="5244969"/>
                </a:lnTo>
                <a:lnTo>
                  <a:pt x="1242485" y="5244969"/>
                </a:lnTo>
                <a:close/>
                <a:moveTo>
                  <a:pt x="2787" y="5143057"/>
                </a:moveTo>
                <a:lnTo>
                  <a:pt x="97302" y="5143057"/>
                </a:lnTo>
                <a:lnTo>
                  <a:pt x="97302" y="5244969"/>
                </a:lnTo>
                <a:lnTo>
                  <a:pt x="2360" y="5244969"/>
                </a:lnTo>
                <a:lnTo>
                  <a:pt x="0" y="5198237"/>
                </a:lnTo>
                <a:close/>
                <a:moveTo>
                  <a:pt x="623389" y="4939239"/>
                </a:moveTo>
                <a:lnTo>
                  <a:pt x="725299" y="4939239"/>
                </a:lnTo>
                <a:lnTo>
                  <a:pt x="725299" y="5450061"/>
                </a:lnTo>
                <a:lnTo>
                  <a:pt x="623389" y="5450061"/>
                </a:lnTo>
                <a:close/>
                <a:moveTo>
                  <a:pt x="86723" y="4273524"/>
                </a:moveTo>
                <a:lnTo>
                  <a:pt x="106218" y="4371093"/>
                </a:lnTo>
                <a:cubicBezTo>
                  <a:pt x="106218" y="4407717"/>
                  <a:pt x="98813" y="4442589"/>
                  <a:pt x="85418" y="4474296"/>
                </a:cubicBezTo>
                <a:lnTo>
                  <a:pt x="47492" y="4530579"/>
                </a:lnTo>
                <a:close/>
                <a:moveTo>
                  <a:pt x="9745526" y="4208037"/>
                </a:moveTo>
                <a:cubicBezTo>
                  <a:pt x="9655081" y="4208037"/>
                  <a:pt x="9582469" y="4280647"/>
                  <a:pt x="9582469" y="4371093"/>
                </a:cubicBezTo>
                <a:cubicBezTo>
                  <a:pt x="9582469" y="4461537"/>
                  <a:pt x="9655081" y="4534147"/>
                  <a:pt x="9745526" y="4534147"/>
                </a:cubicBezTo>
                <a:cubicBezTo>
                  <a:pt x="9835970" y="4534147"/>
                  <a:pt x="9908582" y="4461537"/>
                  <a:pt x="9908582" y="4371093"/>
                </a:cubicBezTo>
                <a:cubicBezTo>
                  <a:pt x="9908582" y="4280647"/>
                  <a:pt x="9835970" y="4208037"/>
                  <a:pt x="9745526" y="4208037"/>
                </a:cubicBezTo>
                <a:close/>
                <a:moveTo>
                  <a:pt x="1498539" y="4208037"/>
                </a:moveTo>
                <a:cubicBezTo>
                  <a:pt x="1408093" y="4208037"/>
                  <a:pt x="1335482" y="4280647"/>
                  <a:pt x="1335482" y="4371093"/>
                </a:cubicBezTo>
                <a:cubicBezTo>
                  <a:pt x="1335482" y="4461537"/>
                  <a:pt x="1408093" y="4534147"/>
                  <a:pt x="1498539" y="4534147"/>
                </a:cubicBezTo>
                <a:cubicBezTo>
                  <a:pt x="1588983" y="4534147"/>
                  <a:pt x="1661593" y="4461537"/>
                  <a:pt x="1661593" y="4371093"/>
                </a:cubicBezTo>
                <a:cubicBezTo>
                  <a:pt x="1661593" y="4280647"/>
                  <a:pt x="1588983" y="4208037"/>
                  <a:pt x="1498539" y="4208037"/>
                </a:cubicBezTo>
                <a:close/>
                <a:moveTo>
                  <a:pt x="8870376" y="4115043"/>
                </a:moveTo>
                <a:lnTo>
                  <a:pt x="8972285" y="4115043"/>
                </a:lnTo>
                <a:lnTo>
                  <a:pt x="8972285" y="4625865"/>
                </a:lnTo>
                <a:lnTo>
                  <a:pt x="8870376" y="4625865"/>
                </a:lnTo>
                <a:close/>
                <a:moveTo>
                  <a:pt x="623387" y="4115043"/>
                </a:moveTo>
                <a:lnTo>
                  <a:pt x="725297" y="4115043"/>
                </a:lnTo>
                <a:lnTo>
                  <a:pt x="725297" y="4625865"/>
                </a:lnTo>
                <a:lnTo>
                  <a:pt x="623387" y="4625865"/>
                </a:lnTo>
                <a:close/>
                <a:moveTo>
                  <a:pt x="9744252" y="4106125"/>
                </a:moveTo>
                <a:cubicBezTo>
                  <a:pt x="9890747" y="4106125"/>
                  <a:pt x="10009217" y="4224597"/>
                  <a:pt x="10009217" y="4371093"/>
                </a:cubicBezTo>
                <a:cubicBezTo>
                  <a:pt x="10009217" y="4517587"/>
                  <a:pt x="9890747" y="4636057"/>
                  <a:pt x="9744252" y="4636057"/>
                </a:cubicBezTo>
                <a:cubicBezTo>
                  <a:pt x="9597757" y="4636057"/>
                  <a:pt x="9479286" y="4517587"/>
                  <a:pt x="9479286" y="4371093"/>
                </a:cubicBezTo>
                <a:cubicBezTo>
                  <a:pt x="9479286" y="4224597"/>
                  <a:pt x="9597757" y="4106125"/>
                  <a:pt x="9744252" y="4106125"/>
                </a:cubicBezTo>
                <a:close/>
                <a:moveTo>
                  <a:pt x="1499812" y="4106125"/>
                </a:moveTo>
                <a:cubicBezTo>
                  <a:pt x="1646307" y="4106125"/>
                  <a:pt x="1764778" y="4224597"/>
                  <a:pt x="1764778" y="4371093"/>
                </a:cubicBezTo>
                <a:cubicBezTo>
                  <a:pt x="1764778" y="4517587"/>
                  <a:pt x="1646307" y="4636057"/>
                  <a:pt x="1499812" y="4636057"/>
                </a:cubicBezTo>
                <a:cubicBezTo>
                  <a:pt x="1353316" y="4634783"/>
                  <a:pt x="1234846" y="4517587"/>
                  <a:pt x="1234846" y="4371093"/>
                </a:cubicBezTo>
                <a:cubicBezTo>
                  <a:pt x="1234846" y="4224597"/>
                  <a:pt x="1353316" y="4106125"/>
                  <a:pt x="1499812" y="4106125"/>
                </a:cubicBezTo>
                <a:close/>
                <a:moveTo>
                  <a:pt x="9489477" y="3495941"/>
                </a:moveTo>
                <a:lnTo>
                  <a:pt x="10000300" y="3495941"/>
                </a:lnTo>
                <a:lnTo>
                  <a:pt x="10000300" y="3597851"/>
                </a:lnTo>
                <a:lnTo>
                  <a:pt x="9489477" y="3597851"/>
                </a:lnTo>
                <a:close/>
                <a:moveTo>
                  <a:pt x="2066685" y="3495941"/>
                </a:moveTo>
                <a:lnTo>
                  <a:pt x="2154931" y="3495941"/>
                </a:lnTo>
                <a:lnTo>
                  <a:pt x="2133958" y="3530464"/>
                </a:lnTo>
                <a:lnTo>
                  <a:pt x="2101496" y="3597851"/>
                </a:lnTo>
                <a:lnTo>
                  <a:pt x="2066685" y="3597851"/>
                </a:lnTo>
                <a:close/>
                <a:moveTo>
                  <a:pt x="674343" y="3383841"/>
                </a:moveTo>
                <a:cubicBezTo>
                  <a:pt x="583899" y="3383841"/>
                  <a:pt x="511289" y="3456451"/>
                  <a:pt x="511289" y="3546897"/>
                </a:cubicBezTo>
                <a:cubicBezTo>
                  <a:pt x="511289" y="3637341"/>
                  <a:pt x="583899" y="3709953"/>
                  <a:pt x="674343" y="3709953"/>
                </a:cubicBezTo>
                <a:cubicBezTo>
                  <a:pt x="764789" y="3709953"/>
                  <a:pt x="837399" y="3637341"/>
                  <a:pt x="837399" y="3546897"/>
                </a:cubicBezTo>
                <a:cubicBezTo>
                  <a:pt x="837399" y="3456451"/>
                  <a:pt x="764789" y="3383841"/>
                  <a:pt x="674343" y="3383841"/>
                </a:cubicBezTo>
                <a:close/>
                <a:moveTo>
                  <a:pt x="8870376" y="3292121"/>
                </a:moveTo>
                <a:lnTo>
                  <a:pt x="8972285" y="3292121"/>
                </a:lnTo>
                <a:lnTo>
                  <a:pt x="8972285" y="3802945"/>
                </a:lnTo>
                <a:lnTo>
                  <a:pt x="8870376" y="3802945"/>
                </a:lnTo>
                <a:close/>
                <a:moveTo>
                  <a:pt x="8142327" y="3292121"/>
                </a:moveTo>
                <a:lnTo>
                  <a:pt x="8148089" y="3292121"/>
                </a:lnTo>
                <a:lnTo>
                  <a:pt x="8148089" y="3301606"/>
                </a:lnTo>
                <a:close/>
                <a:moveTo>
                  <a:pt x="1447583" y="3292121"/>
                </a:moveTo>
                <a:lnTo>
                  <a:pt x="1549493" y="3292121"/>
                </a:lnTo>
                <a:lnTo>
                  <a:pt x="1549493" y="3802945"/>
                </a:lnTo>
                <a:lnTo>
                  <a:pt x="1447583" y="3802945"/>
                </a:lnTo>
                <a:close/>
                <a:moveTo>
                  <a:pt x="675617" y="3281931"/>
                </a:moveTo>
                <a:cubicBezTo>
                  <a:pt x="822113" y="3281931"/>
                  <a:pt x="940583" y="3400401"/>
                  <a:pt x="940583" y="3546897"/>
                </a:cubicBezTo>
                <a:cubicBezTo>
                  <a:pt x="940583" y="3693393"/>
                  <a:pt x="822113" y="3811861"/>
                  <a:pt x="675617" y="3811861"/>
                </a:cubicBezTo>
                <a:cubicBezTo>
                  <a:pt x="529123" y="3811861"/>
                  <a:pt x="410652" y="3693393"/>
                  <a:pt x="410652" y="3546897"/>
                </a:cubicBezTo>
                <a:cubicBezTo>
                  <a:pt x="410652" y="3400401"/>
                  <a:pt x="529123" y="3281931"/>
                  <a:pt x="675617" y="3281931"/>
                </a:cubicBezTo>
                <a:close/>
                <a:moveTo>
                  <a:pt x="1242482" y="2671745"/>
                </a:moveTo>
                <a:lnTo>
                  <a:pt x="1753305" y="2671745"/>
                </a:lnTo>
                <a:lnTo>
                  <a:pt x="1753305" y="2773657"/>
                </a:lnTo>
                <a:lnTo>
                  <a:pt x="1242482" y="2773657"/>
                </a:lnTo>
                <a:close/>
                <a:moveTo>
                  <a:pt x="8921331" y="2560919"/>
                </a:moveTo>
                <a:cubicBezTo>
                  <a:pt x="8832160" y="2560919"/>
                  <a:pt x="8758275" y="2633529"/>
                  <a:pt x="8758275" y="2723975"/>
                </a:cubicBezTo>
                <a:cubicBezTo>
                  <a:pt x="8758275" y="2814419"/>
                  <a:pt x="8830885" y="2887029"/>
                  <a:pt x="8921331" y="2887029"/>
                </a:cubicBezTo>
                <a:cubicBezTo>
                  <a:pt x="9011776" y="2887029"/>
                  <a:pt x="9084386" y="2814419"/>
                  <a:pt x="9084386" y="2723975"/>
                </a:cubicBezTo>
                <a:cubicBezTo>
                  <a:pt x="9084386" y="2633529"/>
                  <a:pt x="9011776" y="2560919"/>
                  <a:pt x="8921331" y="2560919"/>
                </a:cubicBezTo>
                <a:close/>
                <a:moveTo>
                  <a:pt x="2322726" y="2560919"/>
                </a:moveTo>
                <a:cubicBezTo>
                  <a:pt x="2232282" y="2560919"/>
                  <a:pt x="2159671" y="2633529"/>
                  <a:pt x="2159671" y="2723975"/>
                </a:cubicBezTo>
                <a:cubicBezTo>
                  <a:pt x="2159671" y="2814419"/>
                  <a:pt x="2232282" y="2887029"/>
                  <a:pt x="2322726" y="2887029"/>
                </a:cubicBezTo>
                <a:cubicBezTo>
                  <a:pt x="2411897" y="2885757"/>
                  <a:pt x="2485782" y="2813145"/>
                  <a:pt x="2485782" y="2723975"/>
                </a:cubicBezTo>
                <a:cubicBezTo>
                  <a:pt x="2485782" y="2633529"/>
                  <a:pt x="2413173" y="2560919"/>
                  <a:pt x="2322726" y="2560919"/>
                </a:cubicBezTo>
                <a:close/>
                <a:moveTo>
                  <a:pt x="9694571" y="2553886"/>
                </a:moveTo>
                <a:lnTo>
                  <a:pt x="9792198" y="2714584"/>
                </a:lnTo>
                <a:lnTo>
                  <a:pt x="9796481" y="2723476"/>
                </a:lnTo>
                <a:lnTo>
                  <a:pt x="9796481" y="2978749"/>
                </a:lnTo>
                <a:lnTo>
                  <a:pt x="9694571" y="2978749"/>
                </a:lnTo>
                <a:close/>
                <a:moveTo>
                  <a:pt x="772671" y="2477905"/>
                </a:moveTo>
                <a:lnTo>
                  <a:pt x="778813" y="2479809"/>
                </a:lnTo>
                <a:cubicBezTo>
                  <a:pt x="873936" y="2519996"/>
                  <a:pt x="940575" y="2614103"/>
                  <a:pt x="940575" y="2723975"/>
                </a:cubicBezTo>
                <a:cubicBezTo>
                  <a:pt x="940575" y="2870469"/>
                  <a:pt x="822106" y="2988941"/>
                  <a:pt x="675608" y="2988941"/>
                </a:cubicBezTo>
                <a:cubicBezTo>
                  <a:pt x="620673" y="2988463"/>
                  <a:pt x="569678" y="2971504"/>
                  <a:pt x="527394" y="2942835"/>
                </a:cubicBezTo>
                <a:lnTo>
                  <a:pt x="521341" y="2937832"/>
                </a:lnTo>
                <a:lnTo>
                  <a:pt x="566336" y="2844427"/>
                </a:lnTo>
                <a:lnTo>
                  <a:pt x="610701" y="2874271"/>
                </a:lnTo>
                <a:cubicBezTo>
                  <a:pt x="630227" y="2882491"/>
                  <a:pt x="651723" y="2887029"/>
                  <a:pt x="674334" y="2887029"/>
                </a:cubicBezTo>
                <a:cubicBezTo>
                  <a:pt x="764780" y="2885757"/>
                  <a:pt x="837390" y="2813145"/>
                  <a:pt x="837390" y="2723975"/>
                </a:cubicBezTo>
                <a:cubicBezTo>
                  <a:pt x="837390" y="2656141"/>
                  <a:pt x="796547" y="2598339"/>
                  <a:pt x="737968" y="2573678"/>
                </a:cubicBezTo>
                <a:lnTo>
                  <a:pt x="717037" y="2569481"/>
                </a:lnTo>
                <a:close/>
                <a:moveTo>
                  <a:pt x="8046180" y="2467925"/>
                </a:moveTo>
                <a:lnTo>
                  <a:pt x="8148089" y="2467925"/>
                </a:lnTo>
                <a:lnTo>
                  <a:pt x="8148089" y="2978749"/>
                </a:lnTo>
                <a:lnTo>
                  <a:pt x="8046180" y="2978749"/>
                </a:lnTo>
                <a:close/>
                <a:moveTo>
                  <a:pt x="8921331" y="2459009"/>
                </a:moveTo>
                <a:cubicBezTo>
                  <a:pt x="9067826" y="2459009"/>
                  <a:pt x="9186296" y="2577479"/>
                  <a:pt x="9186296" y="2723975"/>
                </a:cubicBezTo>
                <a:cubicBezTo>
                  <a:pt x="9186296" y="2870469"/>
                  <a:pt x="9067826" y="2988941"/>
                  <a:pt x="8921331" y="2988941"/>
                </a:cubicBezTo>
                <a:cubicBezTo>
                  <a:pt x="8774836" y="2988941"/>
                  <a:pt x="8656365" y="2870469"/>
                  <a:pt x="8656365" y="2723975"/>
                </a:cubicBezTo>
                <a:cubicBezTo>
                  <a:pt x="8656365" y="2577479"/>
                  <a:pt x="8774836" y="2459009"/>
                  <a:pt x="8921331" y="2459009"/>
                </a:cubicBezTo>
                <a:close/>
                <a:moveTo>
                  <a:pt x="2322726" y="2459009"/>
                </a:moveTo>
                <a:cubicBezTo>
                  <a:pt x="2469222" y="2459009"/>
                  <a:pt x="2587692" y="2577479"/>
                  <a:pt x="2587692" y="2723975"/>
                </a:cubicBezTo>
                <a:cubicBezTo>
                  <a:pt x="2587692" y="2870469"/>
                  <a:pt x="2469222" y="2988941"/>
                  <a:pt x="2322726" y="2988941"/>
                </a:cubicBezTo>
                <a:cubicBezTo>
                  <a:pt x="2176232" y="2988941"/>
                  <a:pt x="2057761" y="2869197"/>
                  <a:pt x="2057761" y="2723975"/>
                </a:cubicBezTo>
                <a:cubicBezTo>
                  <a:pt x="2057761" y="2577479"/>
                  <a:pt x="2176232" y="2459009"/>
                  <a:pt x="2322726" y="2459009"/>
                </a:cubicBezTo>
                <a:close/>
                <a:moveTo>
                  <a:pt x="7842360" y="1848825"/>
                </a:moveTo>
                <a:lnTo>
                  <a:pt x="8353182" y="1848825"/>
                </a:lnTo>
                <a:lnTo>
                  <a:pt x="8353182" y="1950733"/>
                </a:lnTo>
                <a:lnTo>
                  <a:pt x="7842360" y="1950733"/>
                </a:lnTo>
                <a:close/>
                <a:moveTo>
                  <a:pt x="6223404" y="1848825"/>
                </a:moveTo>
                <a:lnTo>
                  <a:pt x="6704792" y="1848825"/>
                </a:lnTo>
                <a:lnTo>
                  <a:pt x="6704792" y="1950733"/>
                </a:lnTo>
                <a:lnTo>
                  <a:pt x="6512646" y="1950733"/>
                </a:lnTo>
                <a:lnTo>
                  <a:pt x="6413573" y="1911670"/>
                </a:lnTo>
                <a:cubicBezTo>
                  <a:pt x="6359984" y="1892049"/>
                  <a:pt x="6305781" y="1873700"/>
                  <a:pt x="6251001" y="1856662"/>
                </a:cubicBezTo>
                <a:close/>
                <a:moveTo>
                  <a:pt x="2890884" y="1848825"/>
                </a:moveTo>
                <a:lnTo>
                  <a:pt x="3401707" y="1848825"/>
                </a:lnTo>
                <a:lnTo>
                  <a:pt x="3401707" y="1950733"/>
                </a:lnTo>
                <a:lnTo>
                  <a:pt x="2890884" y="1950733"/>
                </a:lnTo>
                <a:close/>
                <a:moveTo>
                  <a:pt x="1242493" y="1848825"/>
                </a:moveTo>
                <a:lnTo>
                  <a:pt x="1753316" y="1848825"/>
                </a:lnTo>
                <a:lnTo>
                  <a:pt x="1753316" y="1950733"/>
                </a:lnTo>
                <a:lnTo>
                  <a:pt x="1242493" y="1950733"/>
                </a:lnTo>
                <a:close/>
                <a:moveTo>
                  <a:pt x="8921331" y="1736725"/>
                </a:moveTo>
                <a:cubicBezTo>
                  <a:pt x="8832160" y="1736725"/>
                  <a:pt x="8758275" y="1809335"/>
                  <a:pt x="8758275" y="1899781"/>
                </a:cubicBezTo>
                <a:cubicBezTo>
                  <a:pt x="8758275" y="1990225"/>
                  <a:pt x="8830885" y="2062835"/>
                  <a:pt x="8921331" y="2062835"/>
                </a:cubicBezTo>
                <a:cubicBezTo>
                  <a:pt x="9011776" y="2062835"/>
                  <a:pt x="9084386" y="1990225"/>
                  <a:pt x="9084386" y="1899781"/>
                </a:cubicBezTo>
                <a:cubicBezTo>
                  <a:pt x="9084386" y="1809335"/>
                  <a:pt x="9011776" y="1736725"/>
                  <a:pt x="8921331" y="1736725"/>
                </a:cubicBezTo>
                <a:close/>
                <a:moveTo>
                  <a:pt x="7223258" y="1643731"/>
                </a:moveTo>
                <a:lnTo>
                  <a:pt x="7325168" y="1643731"/>
                </a:lnTo>
                <a:lnTo>
                  <a:pt x="7325168" y="2154553"/>
                </a:lnTo>
                <a:lnTo>
                  <a:pt x="7223258" y="2154553"/>
                </a:lnTo>
                <a:close/>
                <a:moveTo>
                  <a:pt x="2271782" y="1643731"/>
                </a:moveTo>
                <a:lnTo>
                  <a:pt x="2373691" y="1643731"/>
                </a:lnTo>
                <a:lnTo>
                  <a:pt x="2373691" y="2154553"/>
                </a:lnTo>
                <a:lnTo>
                  <a:pt x="2271782" y="2154553"/>
                </a:lnTo>
                <a:close/>
                <a:moveTo>
                  <a:pt x="8921331" y="1634813"/>
                </a:moveTo>
                <a:cubicBezTo>
                  <a:pt x="8957955" y="1634813"/>
                  <a:pt x="8992827" y="1642218"/>
                  <a:pt x="9024534" y="1655614"/>
                </a:cubicBezTo>
                <a:lnTo>
                  <a:pt x="9036119" y="1661896"/>
                </a:lnTo>
                <a:lnTo>
                  <a:pt x="9067478" y="1694788"/>
                </a:lnTo>
                <a:lnTo>
                  <a:pt x="9168482" y="1811390"/>
                </a:lnTo>
                <a:lnTo>
                  <a:pt x="9186296" y="1899781"/>
                </a:lnTo>
                <a:cubicBezTo>
                  <a:pt x="9186296" y="2046275"/>
                  <a:pt x="9067826" y="2164745"/>
                  <a:pt x="8921331" y="2164745"/>
                </a:cubicBezTo>
                <a:cubicBezTo>
                  <a:pt x="8774836" y="2164745"/>
                  <a:pt x="8656365" y="2046275"/>
                  <a:pt x="8656365" y="1899781"/>
                </a:cubicBezTo>
                <a:cubicBezTo>
                  <a:pt x="8656365" y="1753285"/>
                  <a:pt x="8774836" y="1634813"/>
                  <a:pt x="8921331" y="1634813"/>
                </a:cubicBezTo>
                <a:close/>
                <a:moveTo>
                  <a:pt x="3969851" y="1634813"/>
                </a:moveTo>
                <a:cubicBezTo>
                  <a:pt x="4079723" y="1634813"/>
                  <a:pt x="4173831" y="1701454"/>
                  <a:pt x="4214017" y="1796577"/>
                </a:cubicBezTo>
                <a:lnTo>
                  <a:pt x="4223093" y="1841608"/>
                </a:lnTo>
                <a:lnTo>
                  <a:pt x="4170081" y="1856662"/>
                </a:lnTo>
                <a:lnTo>
                  <a:pt x="4127174" y="1871180"/>
                </a:lnTo>
                <a:lnTo>
                  <a:pt x="4120150" y="1836147"/>
                </a:lnTo>
                <a:cubicBezTo>
                  <a:pt x="4095488" y="1777568"/>
                  <a:pt x="4037686" y="1736725"/>
                  <a:pt x="3969851" y="1736725"/>
                </a:cubicBezTo>
                <a:cubicBezTo>
                  <a:pt x="3880680" y="1736725"/>
                  <a:pt x="3806796" y="1809335"/>
                  <a:pt x="3806796" y="1899781"/>
                </a:cubicBezTo>
                <a:cubicBezTo>
                  <a:pt x="3806796" y="1922392"/>
                  <a:pt x="3811334" y="1943889"/>
                  <a:pt x="3819555" y="1963414"/>
                </a:cubicBezTo>
                <a:lnTo>
                  <a:pt x="3832208" y="1982224"/>
                </a:lnTo>
                <a:lnTo>
                  <a:pt x="3741230" y="2026051"/>
                </a:lnTo>
                <a:lnTo>
                  <a:pt x="3725686" y="2002984"/>
                </a:lnTo>
                <a:cubicBezTo>
                  <a:pt x="3712291" y="1971277"/>
                  <a:pt x="3704886" y="1936405"/>
                  <a:pt x="3704886" y="1899781"/>
                </a:cubicBezTo>
                <a:cubicBezTo>
                  <a:pt x="3704886" y="1753285"/>
                  <a:pt x="3823356" y="1634813"/>
                  <a:pt x="3969851" y="1634813"/>
                </a:cubicBezTo>
                <a:close/>
                <a:moveTo>
                  <a:pt x="7842360" y="1024629"/>
                </a:moveTo>
                <a:lnTo>
                  <a:pt x="8330359" y="1024629"/>
                </a:lnTo>
                <a:lnTo>
                  <a:pt x="8353182" y="1042565"/>
                </a:lnTo>
                <a:lnTo>
                  <a:pt x="8353182" y="1126539"/>
                </a:lnTo>
                <a:lnTo>
                  <a:pt x="7842360" y="1126539"/>
                </a:lnTo>
                <a:close/>
                <a:moveTo>
                  <a:pt x="5371048" y="1024629"/>
                </a:moveTo>
                <a:lnTo>
                  <a:pt x="5881870" y="1024629"/>
                </a:lnTo>
                <a:lnTo>
                  <a:pt x="5881870" y="1126539"/>
                </a:lnTo>
                <a:lnTo>
                  <a:pt x="5371048" y="1126539"/>
                </a:lnTo>
                <a:close/>
                <a:moveTo>
                  <a:pt x="4538001" y="1024629"/>
                </a:moveTo>
                <a:lnTo>
                  <a:pt x="5048825" y="1024629"/>
                </a:lnTo>
                <a:lnTo>
                  <a:pt x="5048825" y="1126539"/>
                </a:lnTo>
                <a:lnTo>
                  <a:pt x="4538001" y="1126539"/>
                </a:lnTo>
                <a:close/>
                <a:moveTo>
                  <a:pt x="2890886" y="1024629"/>
                </a:moveTo>
                <a:lnTo>
                  <a:pt x="3401709" y="1024629"/>
                </a:lnTo>
                <a:lnTo>
                  <a:pt x="3401709" y="1126539"/>
                </a:lnTo>
                <a:lnTo>
                  <a:pt x="2890886" y="1126539"/>
                </a:lnTo>
                <a:close/>
                <a:moveTo>
                  <a:pt x="6450017" y="912529"/>
                </a:moveTo>
                <a:cubicBezTo>
                  <a:pt x="6359572" y="912529"/>
                  <a:pt x="6286962" y="985139"/>
                  <a:pt x="6286962" y="1075585"/>
                </a:cubicBezTo>
                <a:cubicBezTo>
                  <a:pt x="6286962" y="1166029"/>
                  <a:pt x="6359572" y="1238639"/>
                  <a:pt x="6450017" y="1238639"/>
                </a:cubicBezTo>
                <a:cubicBezTo>
                  <a:pt x="6540463" y="1238639"/>
                  <a:pt x="6613073" y="1166029"/>
                  <a:pt x="6613073" y="1075585"/>
                </a:cubicBezTo>
                <a:cubicBezTo>
                  <a:pt x="6613073" y="985139"/>
                  <a:pt x="6540463" y="912529"/>
                  <a:pt x="6450017" y="912529"/>
                </a:cubicBezTo>
                <a:close/>
                <a:moveTo>
                  <a:pt x="2373692" y="828587"/>
                </a:moveTo>
                <a:lnTo>
                  <a:pt x="2373692" y="1331633"/>
                </a:lnTo>
                <a:lnTo>
                  <a:pt x="2271782" y="1331633"/>
                </a:lnTo>
                <a:lnTo>
                  <a:pt x="2271782" y="895706"/>
                </a:lnTo>
                <a:lnTo>
                  <a:pt x="2297278" y="877575"/>
                </a:lnTo>
                <a:close/>
                <a:moveTo>
                  <a:pt x="7223258" y="820809"/>
                </a:moveTo>
                <a:lnTo>
                  <a:pt x="7325168" y="820809"/>
                </a:lnTo>
                <a:lnTo>
                  <a:pt x="7325168" y="1331633"/>
                </a:lnTo>
                <a:lnTo>
                  <a:pt x="7223258" y="1331633"/>
                </a:lnTo>
                <a:close/>
                <a:moveTo>
                  <a:pt x="3918899" y="820809"/>
                </a:moveTo>
                <a:lnTo>
                  <a:pt x="4020808" y="820809"/>
                </a:lnTo>
                <a:lnTo>
                  <a:pt x="4020808" y="1331633"/>
                </a:lnTo>
                <a:lnTo>
                  <a:pt x="3918899" y="1331633"/>
                </a:lnTo>
                <a:close/>
                <a:moveTo>
                  <a:pt x="6451292" y="810617"/>
                </a:moveTo>
                <a:cubicBezTo>
                  <a:pt x="6597788" y="810617"/>
                  <a:pt x="6716257" y="929089"/>
                  <a:pt x="6716257" y="1075585"/>
                </a:cubicBezTo>
                <a:cubicBezTo>
                  <a:pt x="6716257" y="1222079"/>
                  <a:pt x="6597788" y="1340549"/>
                  <a:pt x="6451292" y="1340549"/>
                </a:cubicBezTo>
                <a:cubicBezTo>
                  <a:pt x="6303522" y="1340549"/>
                  <a:pt x="6186326" y="1222079"/>
                  <a:pt x="6186326" y="1075585"/>
                </a:cubicBezTo>
                <a:cubicBezTo>
                  <a:pt x="6186326" y="929089"/>
                  <a:pt x="6304797" y="810617"/>
                  <a:pt x="6451292" y="810617"/>
                </a:cubicBezTo>
                <a:close/>
                <a:moveTo>
                  <a:pt x="6399063" y="125503"/>
                </a:moveTo>
                <a:lnTo>
                  <a:pt x="6500973" y="149024"/>
                </a:lnTo>
                <a:lnTo>
                  <a:pt x="6500973" y="508711"/>
                </a:lnTo>
                <a:lnTo>
                  <a:pt x="6399063" y="508711"/>
                </a:lnTo>
                <a:close/>
                <a:moveTo>
                  <a:pt x="4743094" y="101073"/>
                </a:moveTo>
                <a:lnTo>
                  <a:pt x="4845004" y="101073"/>
                </a:lnTo>
                <a:lnTo>
                  <a:pt x="4845004" y="508711"/>
                </a:lnTo>
                <a:lnTo>
                  <a:pt x="4743094" y="508711"/>
                </a:lnTo>
                <a:close/>
                <a:moveTo>
                  <a:pt x="4174642" y="91020"/>
                </a:moveTo>
                <a:lnTo>
                  <a:pt x="4214021" y="149458"/>
                </a:lnTo>
                <a:cubicBezTo>
                  <a:pt x="4227416" y="181166"/>
                  <a:pt x="4234820" y="216038"/>
                  <a:pt x="4234820" y="252661"/>
                </a:cubicBezTo>
                <a:cubicBezTo>
                  <a:pt x="4234820" y="399157"/>
                  <a:pt x="4116350" y="517629"/>
                  <a:pt x="3969854" y="517629"/>
                </a:cubicBezTo>
                <a:cubicBezTo>
                  <a:pt x="3823359" y="517629"/>
                  <a:pt x="3704889" y="399157"/>
                  <a:pt x="3704889" y="252661"/>
                </a:cubicBezTo>
                <a:lnTo>
                  <a:pt x="3714113" y="206895"/>
                </a:lnTo>
                <a:lnTo>
                  <a:pt x="3829928" y="174007"/>
                </a:lnTo>
                <a:lnTo>
                  <a:pt x="3819737" y="189028"/>
                </a:lnTo>
                <a:cubicBezTo>
                  <a:pt x="3811417" y="208554"/>
                  <a:pt x="3806799" y="230050"/>
                  <a:pt x="3806799" y="252661"/>
                </a:cubicBezTo>
                <a:cubicBezTo>
                  <a:pt x="3806799" y="343107"/>
                  <a:pt x="3879410" y="415717"/>
                  <a:pt x="3969854" y="415717"/>
                </a:cubicBezTo>
                <a:cubicBezTo>
                  <a:pt x="4060300" y="415717"/>
                  <a:pt x="4132911" y="343107"/>
                  <a:pt x="4132911" y="252661"/>
                </a:cubicBezTo>
                <a:cubicBezTo>
                  <a:pt x="4132911" y="207439"/>
                  <a:pt x="4114759" y="166676"/>
                  <a:pt x="4085300" y="137218"/>
                </a:cubicBezTo>
                <a:lnTo>
                  <a:pt x="4056168" y="117622"/>
                </a:lnTo>
                <a:lnTo>
                  <a:pt x="4160436" y="93557"/>
                </a:lnTo>
                <a:close/>
                <a:moveTo>
                  <a:pt x="5625822" y="89607"/>
                </a:moveTo>
                <a:cubicBezTo>
                  <a:pt x="5535377" y="89607"/>
                  <a:pt x="5462766" y="162217"/>
                  <a:pt x="5462766" y="252661"/>
                </a:cubicBezTo>
                <a:cubicBezTo>
                  <a:pt x="5462766" y="343107"/>
                  <a:pt x="5535377" y="415717"/>
                  <a:pt x="5625822" y="415717"/>
                </a:cubicBezTo>
                <a:cubicBezTo>
                  <a:pt x="5716267" y="414445"/>
                  <a:pt x="5788878" y="341833"/>
                  <a:pt x="5788878" y="252661"/>
                </a:cubicBezTo>
                <a:cubicBezTo>
                  <a:pt x="5788878" y="162217"/>
                  <a:pt x="5716267" y="89607"/>
                  <a:pt x="5625822" y="89607"/>
                </a:cubicBezTo>
                <a:close/>
                <a:moveTo>
                  <a:pt x="5551305" y="0"/>
                </a:moveTo>
                <a:lnTo>
                  <a:pt x="5741268" y="14445"/>
                </a:lnTo>
                <a:lnTo>
                  <a:pt x="5775311" y="32907"/>
                </a:lnTo>
                <a:cubicBezTo>
                  <a:pt x="5845785" y="80491"/>
                  <a:pt x="5892062" y="161102"/>
                  <a:pt x="5892062" y="252661"/>
                </a:cubicBezTo>
                <a:cubicBezTo>
                  <a:pt x="5892062" y="399157"/>
                  <a:pt x="5773592" y="517629"/>
                  <a:pt x="5627096" y="517629"/>
                </a:cubicBezTo>
                <a:cubicBezTo>
                  <a:pt x="5480601" y="516353"/>
                  <a:pt x="5362131" y="397885"/>
                  <a:pt x="5362131" y="252661"/>
                </a:cubicBezTo>
                <a:cubicBezTo>
                  <a:pt x="5362131" y="142791"/>
                  <a:pt x="5428771" y="48684"/>
                  <a:pt x="5523893" y="8497"/>
                </a:cubicBezTo>
                <a:close/>
              </a:path>
            </a:pathLst>
          </a:custGeom>
          <a:gradFill>
            <a:gsLst>
              <a:gs pos="100000">
                <a:schemeClr val="accent1">
                  <a:lumMod val="50000"/>
                  <a:alpha val="15000"/>
                </a:schemeClr>
              </a:gs>
              <a:gs pos="0">
                <a:schemeClr val="accent1">
                  <a:lumMod val="50000"/>
                  <a:alpha val="0"/>
                </a:schemeClr>
              </a:gs>
            </a:gsLst>
            <a:lin ang="18900000" scaled="0"/>
          </a:gradFill>
          <a:ln w="1273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pic>
        <p:nvPicPr>
          <p:cNvPr id="105" name="Picture 104">
            <a:extLst>
              <a:ext uri="{FF2B5EF4-FFF2-40B4-BE49-F238E27FC236}">
                <a16:creationId xmlns:a16="http://schemas.microsoft.com/office/drawing/2014/main" id="{7ACE861C-B5D9-4C71-939C-935BDDA991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20524" y="10422"/>
            <a:ext cx="5708853" cy="6845147"/>
          </a:xfrm>
          <a:prstGeom prst="rect">
            <a:avLst/>
          </a:prstGeom>
          <a:effectLst/>
        </p:spPr>
      </p:pic>
      <p:pic>
        <p:nvPicPr>
          <p:cNvPr id="435" name="Picture 434">
            <a:extLst>
              <a:ext uri="{FF2B5EF4-FFF2-40B4-BE49-F238E27FC236}">
                <a16:creationId xmlns:a16="http://schemas.microsoft.com/office/drawing/2014/main" id="{F24568CF-2282-4703-A746-7621B6486D4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7061" y="6011456"/>
            <a:ext cx="3547925" cy="428943"/>
          </a:xfrm>
          <a:prstGeom prst="rect">
            <a:avLst/>
          </a:prstGeom>
        </p:spPr>
      </p:pic>
      <p:sp>
        <p:nvSpPr>
          <p:cNvPr id="438" name="Rectangle 437">
            <a:extLst>
              <a:ext uri="{FF2B5EF4-FFF2-40B4-BE49-F238E27FC236}">
                <a16:creationId xmlns:a16="http://schemas.microsoft.com/office/drawing/2014/main" id="{1E14E943-0B80-4EAF-83E1-21AC22C53993}"/>
              </a:ext>
            </a:extLst>
          </p:cNvPr>
          <p:cNvSpPr/>
          <p:nvPr userDrawn="1"/>
        </p:nvSpPr>
        <p:spPr>
          <a:xfrm>
            <a:off x="11815564" y="590321"/>
            <a:ext cx="58844" cy="16196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32308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64DAAD5-C2C5-4B95-9740-9BDDDA246172}"/>
              </a:ext>
            </a:extLst>
          </p:cNvPr>
          <p:cNvSpPr/>
          <p:nvPr userDrawn="1"/>
        </p:nvSpPr>
        <p:spPr>
          <a:xfrm flipV="1">
            <a:off x="0" y="-1288"/>
            <a:ext cx="12192000" cy="6858000"/>
          </a:xfrm>
          <a:custGeom>
            <a:avLst/>
            <a:gdLst>
              <a:gd name="connsiteX0" fmla="*/ 4892433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7999 h 6858000"/>
              <a:gd name="connsiteX3" fmla="*/ 7112000 w 12192000"/>
              <a:gd name="connsiteY3" fmla="*/ 6857999 h 6858000"/>
              <a:gd name="connsiteX4" fmla="*/ 6096000 w 12192000"/>
              <a:gd name="connsiteY4" fmla="*/ 6857999 h 6858000"/>
              <a:gd name="connsiteX5" fmla="*/ 5548505 w 12192000"/>
              <a:gd name="connsiteY5" fmla="*/ 6857999 h 6858000"/>
              <a:gd name="connsiteX6" fmla="*/ 5548504 w 12192000"/>
              <a:gd name="connsiteY6" fmla="*/ 6858000 h 6858000"/>
              <a:gd name="connsiteX7" fmla="*/ 0 w 12192000"/>
              <a:gd name="connsiteY7" fmla="*/ 6858000 h 6858000"/>
              <a:gd name="connsiteX8" fmla="*/ 0 w 12192000"/>
              <a:gd name="connsiteY8" fmla="*/ 4953304 h 6858000"/>
              <a:gd name="connsiteX9" fmla="*/ 236754 w 12192000"/>
              <a:gd name="connsiteY9" fmla="*/ 5130345 h 6858000"/>
              <a:gd name="connsiteX10" fmla="*/ 2193559 w 12192000"/>
              <a:gd name="connsiteY10" fmla="*/ 5728066 h 6858000"/>
              <a:gd name="connsiteX11" fmla="*/ 5693420 w 12192000"/>
              <a:gd name="connsiteY11" fmla="*/ 2228205 h 6858000"/>
              <a:gd name="connsiteX12" fmla="*/ 4894222 w 12192000"/>
              <a:gd name="connsiteY12" fmla="*/ 196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0" h="6858000">
                <a:moveTo>
                  <a:pt x="4892433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7112000" y="6857999"/>
                </a:lnTo>
                <a:lnTo>
                  <a:pt x="6096000" y="6857999"/>
                </a:lnTo>
                <a:lnTo>
                  <a:pt x="5548505" y="6857999"/>
                </a:lnTo>
                <a:lnTo>
                  <a:pt x="5548504" y="6858000"/>
                </a:lnTo>
                <a:lnTo>
                  <a:pt x="0" y="6858000"/>
                </a:lnTo>
                <a:lnTo>
                  <a:pt x="0" y="4953304"/>
                </a:lnTo>
                <a:lnTo>
                  <a:pt x="236754" y="5130345"/>
                </a:lnTo>
                <a:cubicBezTo>
                  <a:pt x="795335" y="5507715"/>
                  <a:pt x="1468714" y="5728066"/>
                  <a:pt x="2193559" y="5728066"/>
                </a:cubicBezTo>
                <a:cubicBezTo>
                  <a:pt x="4126479" y="5728066"/>
                  <a:pt x="5693420" y="4161125"/>
                  <a:pt x="5693420" y="2228205"/>
                </a:cubicBezTo>
                <a:cubicBezTo>
                  <a:pt x="5693420" y="1382553"/>
                  <a:pt x="5393498" y="606951"/>
                  <a:pt x="4894222" y="196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BC73C0-FD7C-49DF-B2BC-1222FCFC032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76284" y="519201"/>
            <a:ext cx="6679261" cy="1163955"/>
          </a:xfrm>
        </p:spPr>
        <p:txBody>
          <a:bodyPr lIns="36000" rIns="0" anchor="ctr">
            <a:noAutofit/>
          </a:bodyPr>
          <a:lstStyle>
            <a:lvl1pPr algn="r"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Title Block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0F1A5B1-7950-41B4-A0A3-91FEE2C6B33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71853" y="1857502"/>
            <a:ext cx="4983692" cy="361054"/>
          </a:xfrm>
          <a:prstGeom prst="rect">
            <a:avLst/>
          </a:prstGeom>
        </p:spPr>
        <p:txBody>
          <a:bodyPr lIns="36000" rIns="0" anchor="ctr"/>
          <a:lstStyle>
            <a:lvl1pPr marL="0" indent="0" algn="r">
              <a:buNone/>
              <a:defRPr sz="2400" i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Insert Date</a:t>
            </a:r>
            <a:endParaRPr lang="en-GB" dirty="0"/>
          </a:p>
        </p:txBody>
      </p:sp>
      <p:sp>
        <p:nvSpPr>
          <p:cNvPr id="430" name="Circle: Hollow 429">
            <a:extLst>
              <a:ext uri="{FF2B5EF4-FFF2-40B4-BE49-F238E27FC236}">
                <a16:creationId xmlns:a16="http://schemas.microsoft.com/office/drawing/2014/main" id="{4FBE3FB6-1C75-477E-A1DD-DA5AC0C318E0}"/>
              </a:ext>
            </a:extLst>
          </p:cNvPr>
          <p:cNvSpPr/>
          <p:nvPr userDrawn="1"/>
        </p:nvSpPr>
        <p:spPr>
          <a:xfrm flipV="1">
            <a:off x="-1489805" y="944243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435" name="Picture 434">
            <a:extLst>
              <a:ext uri="{FF2B5EF4-FFF2-40B4-BE49-F238E27FC236}">
                <a16:creationId xmlns:a16="http://schemas.microsoft.com/office/drawing/2014/main" id="{F24568CF-2282-4703-A746-7621B6486D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7061" y="6011456"/>
            <a:ext cx="3547925" cy="428943"/>
          </a:xfrm>
          <a:prstGeom prst="rect">
            <a:avLst/>
          </a:prstGeom>
        </p:spPr>
      </p:pic>
      <p:sp>
        <p:nvSpPr>
          <p:cNvPr id="438" name="Rectangle 437">
            <a:extLst>
              <a:ext uri="{FF2B5EF4-FFF2-40B4-BE49-F238E27FC236}">
                <a16:creationId xmlns:a16="http://schemas.microsoft.com/office/drawing/2014/main" id="{1E14E943-0B80-4EAF-83E1-21AC22C53993}"/>
              </a:ext>
            </a:extLst>
          </p:cNvPr>
          <p:cNvSpPr/>
          <p:nvPr userDrawn="1"/>
        </p:nvSpPr>
        <p:spPr>
          <a:xfrm>
            <a:off x="11815564" y="590321"/>
            <a:ext cx="58844" cy="16196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3" name="Circle: Hollow 431">
            <a:extLst>
              <a:ext uri="{FF2B5EF4-FFF2-40B4-BE49-F238E27FC236}">
                <a16:creationId xmlns:a16="http://schemas.microsoft.com/office/drawing/2014/main" id="{469AD368-1377-F045-80F7-74398DE7EB2A}"/>
              </a:ext>
            </a:extLst>
          </p:cNvPr>
          <p:cNvSpPr/>
          <p:nvPr userDrawn="1"/>
        </p:nvSpPr>
        <p:spPr>
          <a:xfrm flipV="1">
            <a:off x="-3190202" y="-719611"/>
            <a:ext cx="10738580" cy="10738578"/>
          </a:xfrm>
          <a:prstGeom prst="donut">
            <a:avLst>
              <a:gd name="adj" fmla="val 17386"/>
            </a:avLst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4" name="Circle: Hollow 98">
            <a:extLst>
              <a:ext uri="{FF2B5EF4-FFF2-40B4-BE49-F238E27FC236}">
                <a16:creationId xmlns:a16="http://schemas.microsoft.com/office/drawing/2014/main" id="{38FA9ECD-DD95-8F4D-A98D-35CCEC4338A4}"/>
              </a:ext>
            </a:extLst>
          </p:cNvPr>
          <p:cNvSpPr/>
          <p:nvPr userDrawn="1"/>
        </p:nvSpPr>
        <p:spPr>
          <a:xfrm flipV="1">
            <a:off x="-3016981" y="-582034"/>
            <a:ext cx="10421082" cy="10421080"/>
          </a:xfrm>
          <a:prstGeom prst="donut">
            <a:avLst>
              <a:gd name="adj" fmla="val 16425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8" name="Freeform: Shape 428">
            <a:extLst>
              <a:ext uri="{FF2B5EF4-FFF2-40B4-BE49-F238E27FC236}">
                <a16:creationId xmlns:a16="http://schemas.microsoft.com/office/drawing/2014/main" id="{2E6E8306-4C45-584C-9225-8653BEEFD53C}"/>
              </a:ext>
            </a:extLst>
          </p:cNvPr>
          <p:cNvSpPr/>
          <p:nvPr userDrawn="1"/>
        </p:nvSpPr>
        <p:spPr>
          <a:xfrm>
            <a:off x="-3016981" y="-569731"/>
            <a:ext cx="10375356" cy="10394676"/>
          </a:xfrm>
          <a:custGeom>
            <a:avLst/>
            <a:gdLst>
              <a:gd name="connsiteX0" fmla="*/ 6202887 w 10375356"/>
              <a:gd name="connsiteY0" fmla="*/ 10086957 h 10394676"/>
              <a:gd name="connsiteX1" fmla="*/ 6713710 w 10375356"/>
              <a:gd name="connsiteY1" fmla="*/ 10086957 h 10394676"/>
              <a:gd name="connsiteX2" fmla="*/ 6713710 w 10375356"/>
              <a:gd name="connsiteY2" fmla="*/ 10187665 h 10394676"/>
              <a:gd name="connsiteX3" fmla="*/ 6709472 w 10375356"/>
              <a:gd name="connsiteY3" fmla="*/ 10188869 h 10394676"/>
              <a:gd name="connsiteX4" fmla="*/ 6202887 w 10375356"/>
              <a:gd name="connsiteY4" fmla="*/ 10188869 h 10394676"/>
              <a:gd name="connsiteX5" fmla="*/ 5634740 w 10375356"/>
              <a:gd name="connsiteY5" fmla="*/ 9974857 h 10394676"/>
              <a:gd name="connsiteX6" fmla="*/ 5471684 w 10375356"/>
              <a:gd name="connsiteY6" fmla="*/ 10137913 h 10394676"/>
              <a:gd name="connsiteX7" fmla="*/ 5634740 w 10375356"/>
              <a:gd name="connsiteY7" fmla="*/ 10300969 h 10394676"/>
              <a:gd name="connsiteX8" fmla="*/ 5797795 w 10375356"/>
              <a:gd name="connsiteY8" fmla="*/ 10137913 h 10394676"/>
              <a:gd name="connsiteX9" fmla="*/ 5634740 w 10375356"/>
              <a:gd name="connsiteY9" fmla="*/ 9974857 h 10394676"/>
              <a:gd name="connsiteX10" fmla="*/ 7232175 w 10375356"/>
              <a:gd name="connsiteY10" fmla="*/ 9881865 h 10394676"/>
              <a:gd name="connsiteX11" fmla="*/ 7334085 w 10375356"/>
              <a:gd name="connsiteY11" fmla="*/ 9881865 h 10394676"/>
              <a:gd name="connsiteX12" fmla="*/ 7334085 w 10375356"/>
              <a:gd name="connsiteY12" fmla="*/ 9956193 h 10394676"/>
              <a:gd name="connsiteX13" fmla="*/ 7238719 w 10375356"/>
              <a:gd name="connsiteY13" fmla="*/ 9999307 h 10394676"/>
              <a:gd name="connsiteX14" fmla="*/ 7232175 w 10375356"/>
              <a:gd name="connsiteY14" fmla="*/ 10001887 h 10394676"/>
              <a:gd name="connsiteX15" fmla="*/ 4751991 w 10375356"/>
              <a:gd name="connsiteY15" fmla="*/ 9881865 h 10394676"/>
              <a:gd name="connsiteX16" fmla="*/ 4853901 w 10375356"/>
              <a:gd name="connsiteY16" fmla="*/ 9881865 h 10394676"/>
              <a:gd name="connsiteX17" fmla="*/ 4853901 w 10375356"/>
              <a:gd name="connsiteY17" fmla="*/ 10290777 h 10394676"/>
              <a:gd name="connsiteX18" fmla="*/ 4751991 w 10375356"/>
              <a:gd name="connsiteY18" fmla="*/ 10290777 h 10394676"/>
              <a:gd name="connsiteX19" fmla="*/ 5636013 w 10375356"/>
              <a:gd name="connsiteY19" fmla="*/ 9872947 h 10394676"/>
              <a:gd name="connsiteX20" fmla="*/ 5900978 w 10375356"/>
              <a:gd name="connsiteY20" fmla="*/ 10137913 h 10394676"/>
              <a:gd name="connsiteX21" fmla="*/ 5739217 w 10375356"/>
              <a:gd name="connsiteY21" fmla="*/ 10382077 h 10394676"/>
              <a:gd name="connsiteX22" fmla="*/ 5738756 w 10375356"/>
              <a:gd name="connsiteY22" fmla="*/ 10382220 h 10394676"/>
              <a:gd name="connsiteX23" fmla="*/ 5574951 w 10375356"/>
              <a:gd name="connsiteY23" fmla="*/ 10394676 h 10394676"/>
              <a:gd name="connsiteX24" fmla="*/ 5532810 w 10375356"/>
              <a:gd name="connsiteY24" fmla="*/ 10381361 h 10394676"/>
              <a:gd name="connsiteX25" fmla="*/ 5371048 w 10375356"/>
              <a:gd name="connsiteY25" fmla="*/ 10137913 h 10394676"/>
              <a:gd name="connsiteX26" fmla="*/ 5636013 w 10375356"/>
              <a:gd name="connsiteY26" fmla="*/ 9872947 h 10394676"/>
              <a:gd name="connsiteX27" fmla="*/ 3978752 w 10375356"/>
              <a:gd name="connsiteY27" fmla="*/ 9872947 h 10394676"/>
              <a:gd name="connsiteX28" fmla="*/ 4243718 w 10375356"/>
              <a:gd name="connsiteY28" fmla="*/ 10137913 h 10394676"/>
              <a:gd name="connsiteX29" fmla="*/ 4222918 w 10375356"/>
              <a:gd name="connsiteY29" fmla="*/ 10241117 h 10394676"/>
              <a:gd name="connsiteX30" fmla="*/ 4179036 w 10375356"/>
              <a:gd name="connsiteY30" fmla="*/ 10306239 h 10394676"/>
              <a:gd name="connsiteX31" fmla="*/ 4160436 w 10375356"/>
              <a:gd name="connsiteY31" fmla="*/ 10302917 h 10394676"/>
              <a:gd name="connsiteX32" fmla="*/ 4056265 w 10375356"/>
              <a:gd name="connsiteY32" fmla="*/ 10278875 h 10394676"/>
              <a:gd name="connsiteX33" fmla="*/ 4094199 w 10375356"/>
              <a:gd name="connsiteY33" fmla="*/ 10253357 h 10394676"/>
              <a:gd name="connsiteX34" fmla="*/ 4141809 w 10375356"/>
              <a:gd name="connsiteY34" fmla="*/ 10137913 h 10394676"/>
              <a:gd name="connsiteX35" fmla="*/ 3978752 w 10375356"/>
              <a:gd name="connsiteY35" fmla="*/ 9974857 h 10394676"/>
              <a:gd name="connsiteX36" fmla="*/ 3815698 w 10375356"/>
              <a:gd name="connsiteY36" fmla="*/ 10137913 h 10394676"/>
              <a:gd name="connsiteX37" fmla="*/ 3828457 w 10375356"/>
              <a:gd name="connsiteY37" fmla="*/ 10201547 h 10394676"/>
              <a:gd name="connsiteX38" fmla="*/ 3845505 w 10375356"/>
              <a:gd name="connsiteY38" fmla="*/ 10226891 h 10394676"/>
              <a:gd name="connsiteX39" fmla="*/ 3724813 w 10375356"/>
              <a:gd name="connsiteY39" fmla="*/ 10192618 h 10394676"/>
              <a:gd name="connsiteX40" fmla="*/ 3713787 w 10375356"/>
              <a:gd name="connsiteY40" fmla="*/ 10137913 h 10394676"/>
              <a:gd name="connsiteX41" fmla="*/ 3978752 w 10375356"/>
              <a:gd name="connsiteY41" fmla="*/ 9872947 h 10394676"/>
              <a:gd name="connsiteX42" fmla="*/ 3155832 w 10375356"/>
              <a:gd name="connsiteY42" fmla="*/ 9872947 h 10394676"/>
              <a:gd name="connsiteX43" fmla="*/ 3399999 w 10375356"/>
              <a:gd name="connsiteY43" fmla="*/ 10034709 h 10394676"/>
              <a:gd name="connsiteX44" fmla="*/ 3411035 w 10375356"/>
              <a:gd name="connsiteY44" fmla="*/ 10089469 h 10394676"/>
              <a:gd name="connsiteX45" fmla="*/ 3280434 w 10375356"/>
              <a:gd name="connsiteY45" fmla="*/ 10037975 h 10394676"/>
              <a:gd name="connsiteX46" fmla="*/ 3270003 w 10375356"/>
              <a:gd name="connsiteY46" fmla="*/ 10022469 h 10394676"/>
              <a:gd name="connsiteX47" fmla="*/ 3154558 w 10375356"/>
              <a:gd name="connsiteY47" fmla="*/ 9974857 h 10394676"/>
              <a:gd name="connsiteX48" fmla="*/ 3136355 w 10375356"/>
              <a:gd name="connsiteY48" fmla="*/ 9978507 h 10394676"/>
              <a:gd name="connsiteX49" fmla="*/ 3005935 w 10375356"/>
              <a:gd name="connsiteY49" fmla="*/ 9919545 h 10394676"/>
              <a:gd name="connsiteX50" fmla="*/ 3007618 w 10375356"/>
              <a:gd name="connsiteY50" fmla="*/ 9918157 h 10394676"/>
              <a:gd name="connsiteX51" fmla="*/ 3155832 w 10375356"/>
              <a:gd name="connsiteY51" fmla="*/ 9872947 h 10394676"/>
              <a:gd name="connsiteX52" fmla="*/ 7851277 w 10375356"/>
              <a:gd name="connsiteY52" fmla="*/ 9262761 h 10394676"/>
              <a:gd name="connsiteX53" fmla="*/ 8362099 w 10375356"/>
              <a:gd name="connsiteY53" fmla="*/ 9262761 h 10394676"/>
              <a:gd name="connsiteX54" fmla="*/ 8362099 w 10375356"/>
              <a:gd name="connsiteY54" fmla="*/ 9346902 h 10394676"/>
              <a:gd name="connsiteX55" fmla="*/ 8339488 w 10375356"/>
              <a:gd name="connsiteY55" fmla="*/ 9364671 h 10394676"/>
              <a:gd name="connsiteX56" fmla="*/ 7851277 w 10375356"/>
              <a:gd name="connsiteY56" fmla="*/ 9364671 h 10394676"/>
              <a:gd name="connsiteX57" fmla="*/ 5379965 w 10375356"/>
              <a:gd name="connsiteY57" fmla="*/ 9262761 h 10394676"/>
              <a:gd name="connsiteX58" fmla="*/ 5890787 w 10375356"/>
              <a:gd name="connsiteY58" fmla="*/ 9262761 h 10394676"/>
              <a:gd name="connsiteX59" fmla="*/ 5890787 w 10375356"/>
              <a:gd name="connsiteY59" fmla="*/ 9364671 h 10394676"/>
              <a:gd name="connsiteX60" fmla="*/ 5379965 w 10375356"/>
              <a:gd name="connsiteY60" fmla="*/ 9364671 h 10394676"/>
              <a:gd name="connsiteX61" fmla="*/ 4546902 w 10375356"/>
              <a:gd name="connsiteY61" fmla="*/ 9262761 h 10394676"/>
              <a:gd name="connsiteX62" fmla="*/ 5057725 w 10375356"/>
              <a:gd name="connsiteY62" fmla="*/ 9262761 h 10394676"/>
              <a:gd name="connsiteX63" fmla="*/ 5057725 w 10375356"/>
              <a:gd name="connsiteY63" fmla="*/ 9364671 h 10394676"/>
              <a:gd name="connsiteX64" fmla="*/ 4546902 w 10375356"/>
              <a:gd name="connsiteY64" fmla="*/ 9364671 h 10394676"/>
              <a:gd name="connsiteX65" fmla="*/ 2899787 w 10375356"/>
              <a:gd name="connsiteY65" fmla="*/ 9262761 h 10394676"/>
              <a:gd name="connsiteX66" fmla="*/ 3410609 w 10375356"/>
              <a:gd name="connsiteY66" fmla="*/ 9262761 h 10394676"/>
              <a:gd name="connsiteX67" fmla="*/ 3410609 w 10375356"/>
              <a:gd name="connsiteY67" fmla="*/ 9364671 h 10394676"/>
              <a:gd name="connsiteX68" fmla="*/ 2899787 w 10375356"/>
              <a:gd name="connsiteY68" fmla="*/ 9364671 h 10394676"/>
              <a:gd name="connsiteX69" fmla="*/ 6450017 w 10375356"/>
              <a:gd name="connsiteY69" fmla="*/ 9150661 h 10394676"/>
              <a:gd name="connsiteX70" fmla="*/ 6286962 w 10375356"/>
              <a:gd name="connsiteY70" fmla="*/ 9313717 h 10394676"/>
              <a:gd name="connsiteX71" fmla="*/ 6450017 w 10375356"/>
              <a:gd name="connsiteY71" fmla="*/ 9476773 h 10394676"/>
              <a:gd name="connsiteX72" fmla="*/ 6613073 w 10375356"/>
              <a:gd name="connsiteY72" fmla="*/ 9313717 h 10394676"/>
              <a:gd name="connsiteX73" fmla="*/ 6450017 w 10375356"/>
              <a:gd name="connsiteY73" fmla="*/ 9150661 h 10394676"/>
              <a:gd name="connsiteX74" fmla="*/ 3978754 w 10375356"/>
              <a:gd name="connsiteY74" fmla="*/ 9150661 h 10394676"/>
              <a:gd name="connsiteX75" fmla="*/ 3815700 w 10375356"/>
              <a:gd name="connsiteY75" fmla="*/ 9313717 h 10394676"/>
              <a:gd name="connsiteX76" fmla="*/ 3978754 w 10375356"/>
              <a:gd name="connsiteY76" fmla="*/ 9476773 h 10394676"/>
              <a:gd name="connsiteX77" fmla="*/ 4141811 w 10375356"/>
              <a:gd name="connsiteY77" fmla="*/ 9313717 h 10394676"/>
              <a:gd name="connsiteX78" fmla="*/ 3978754 w 10375356"/>
              <a:gd name="connsiteY78" fmla="*/ 9150661 h 10394676"/>
              <a:gd name="connsiteX79" fmla="*/ 7232175 w 10375356"/>
              <a:gd name="connsiteY79" fmla="*/ 9057669 h 10394676"/>
              <a:gd name="connsiteX80" fmla="*/ 7334085 w 10375356"/>
              <a:gd name="connsiteY80" fmla="*/ 9057669 h 10394676"/>
              <a:gd name="connsiteX81" fmla="*/ 7334085 w 10375356"/>
              <a:gd name="connsiteY81" fmla="*/ 9568493 h 10394676"/>
              <a:gd name="connsiteX82" fmla="*/ 7232175 w 10375356"/>
              <a:gd name="connsiteY82" fmla="*/ 9568493 h 10394676"/>
              <a:gd name="connsiteX83" fmla="*/ 2280685 w 10375356"/>
              <a:gd name="connsiteY83" fmla="*/ 9057669 h 10394676"/>
              <a:gd name="connsiteX84" fmla="*/ 2382595 w 10375356"/>
              <a:gd name="connsiteY84" fmla="*/ 9057669 h 10394676"/>
              <a:gd name="connsiteX85" fmla="*/ 2382595 w 10375356"/>
              <a:gd name="connsiteY85" fmla="*/ 9568493 h 10394676"/>
              <a:gd name="connsiteX86" fmla="*/ 2374638 w 10375356"/>
              <a:gd name="connsiteY86" fmla="*/ 9568493 h 10394676"/>
              <a:gd name="connsiteX87" fmla="*/ 2297278 w 10375356"/>
              <a:gd name="connsiteY87" fmla="*/ 9518899 h 10394676"/>
              <a:gd name="connsiteX88" fmla="*/ 2280685 w 10375356"/>
              <a:gd name="connsiteY88" fmla="*/ 9507099 h 10394676"/>
              <a:gd name="connsiteX89" fmla="*/ 6450017 w 10375356"/>
              <a:gd name="connsiteY89" fmla="*/ 9048751 h 10394676"/>
              <a:gd name="connsiteX90" fmla="*/ 6714982 w 10375356"/>
              <a:gd name="connsiteY90" fmla="*/ 9313717 h 10394676"/>
              <a:gd name="connsiteX91" fmla="*/ 6450017 w 10375356"/>
              <a:gd name="connsiteY91" fmla="*/ 9578681 h 10394676"/>
              <a:gd name="connsiteX92" fmla="*/ 6185052 w 10375356"/>
              <a:gd name="connsiteY92" fmla="*/ 9313717 h 10394676"/>
              <a:gd name="connsiteX93" fmla="*/ 6450017 w 10375356"/>
              <a:gd name="connsiteY93" fmla="*/ 9048751 h 10394676"/>
              <a:gd name="connsiteX94" fmla="*/ 3978754 w 10375356"/>
              <a:gd name="connsiteY94" fmla="*/ 9048751 h 10394676"/>
              <a:gd name="connsiteX95" fmla="*/ 4243720 w 10375356"/>
              <a:gd name="connsiteY95" fmla="*/ 9313717 h 10394676"/>
              <a:gd name="connsiteX96" fmla="*/ 3978754 w 10375356"/>
              <a:gd name="connsiteY96" fmla="*/ 9578681 h 10394676"/>
              <a:gd name="connsiteX97" fmla="*/ 3713789 w 10375356"/>
              <a:gd name="connsiteY97" fmla="*/ 9313717 h 10394676"/>
              <a:gd name="connsiteX98" fmla="*/ 3978754 w 10375356"/>
              <a:gd name="connsiteY98" fmla="*/ 9048751 h 10394676"/>
              <a:gd name="connsiteX99" fmla="*/ 5676776 w 10375356"/>
              <a:gd name="connsiteY99" fmla="*/ 8665264 h 10394676"/>
              <a:gd name="connsiteX100" fmla="*/ 5676776 w 10375356"/>
              <a:gd name="connsiteY100" fmla="*/ 8745569 h 10394676"/>
              <a:gd name="connsiteX101" fmla="*/ 5574867 w 10375356"/>
              <a:gd name="connsiteY101" fmla="*/ 8745569 h 10394676"/>
              <a:gd name="connsiteX102" fmla="*/ 5574867 w 10375356"/>
              <a:gd name="connsiteY102" fmla="*/ 8678214 h 10394676"/>
              <a:gd name="connsiteX103" fmla="*/ 3918880 w 10375356"/>
              <a:gd name="connsiteY103" fmla="*/ 8449859 h 10394676"/>
              <a:gd name="connsiteX104" fmla="*/ 4007509 w 10375356"/>
              <a:gd name="connsiteY104" fmla="*/ 8484804 h 10394676"/>
              <a:gd name="connsiteX105" fmla="*/ 4020789 w 10375356"/>
              <a:gd name="connsiteY105" fmla="*/ 8489298 h 10394676"/>
              <a:gd name="connsiteX106" fmla="*/ 4020789 w 10375356"/>
              <a:gd name="connsiteY106" fmla="*/ 8745569 h 10394676"/>
              <a:gd name="connsiteX107" fmla="*/ 3918880 w 10375356"/>
              <a:gd name="connsiteY107" fmla="*/ 8745569 h 10394676"/>
              <a:gd name="connsiteX108" fmla="*/ 7018165 w 10375356"/>
              <a:gd name="connsiteY108" fmla="*/ 8438567 h 10394676"/>
              <a:gd name="connsiteX109" fmla="*/ 7528988 w 10375356"/>
              <a:gd name="connsiteY109" fmla="*/ 8438567 h 10394676"/>
              <a:gd name="connsiteX110" fmla="*/ 7528988 w 10375356"/>
              <a:gd name="connsiteY110" fmla="*/ 8540477 h 10394676"/>
              <a:gd name="connsiteX111" fmla="*/ 7018165 w 10375356"/>
              <a:gd name="connsiteY111" fmla="*/ 8540477 h 10394676"/>
              <a:gd name="connsiteX112" fmla="*/ 6530840 w 10375356"/>
              <a:gd name="connsiteY112" fmla="*/ 8438567 h 10394676"/>
              <a:gd name="connsiteX113" fmla="*/ 6697148 w 10375356"/>
              <a:gd name="connsiteY113" fmla="*/ 8438567 h 10394676"/>
              <a:gd name="connsiteX114" fmla="*/ 6697148 w 10375356"/>
              <a:gd name="connsiteY114" fmla="*/ 8540477 h 10394676"/>
              <a:gd name="connsiteX115" fmla="*/ 6248661 w 10375356"/>
              <a:gd name="connsiteY115" fmla="*/ 8540477 h 10394676"/>
              <a:gd name="connsiteX116" fmla="*/ 6251001 w 10375356"/>
              <a:gd name="connsiteY116" fmla="*/ 8539813 h 10394676"/>
              <a:gd name="connsiteX117" fmla="*/ 6413573 w 10375356"/>
              <a:gd name="connsiteY117" fmla="*/ 8484804 h 10394676"/>
              <a:gd name="connsiteX118" fmla="*/ 2066673 w 10375356"/>
              <a:gd name="connsiteY118" fmla="*/ 8438567 h 10394676"/>
              <a:gd name="connsiteX119" fmla="*/ 2577496 w 10375356"/>
              <a:gd name="connsiteY119" fmla="*/ 8438567 h 10394676"/>
              <a:gd name="connsiteX120" fmla="*/ 2577496 w 10375356"/>
              <a:gd name="connsiteY120" fmla="*/ 8540477 h 10394676"/>
              <a:gd name="connsiteX121" fmla="*/ 2066673 w 10375356"/>
              <a:gd name="connsiteY121" fmla="*/ 8540477 h 10394676"/>
              <a:gd name="connsiteX122" fmla="*/ 1234837 w 10375356"/>
              <a:gd name="connsiteY122" fmla="*/ 8438567 h 10394676"/>
              <a:gd name="connsiteX123" fmla="*/ 1745660 w 10375356"/>
              <a:gd name="connsiteY123" fmla="*/ 8438567 h 10394676"/>
              <a:gd name="connsiteX124" fmla="*/ 1745660 w 10375356"/>
              <a:gd name="connsiteY124" fmla="*/ 8540477 h 10394676"/>
              <a:gd name="connsiteX125" fmla="*/ 1234837 w 10375356"/>
              <a:gd name="connsiteY125" fmla="*/ 8540477 h 10394676"/>
              <a:gd name="connsiteX126" fmla="*/ 8870376 w 10375356"/>
              <a:gd name="connsiteY126" fmla="*/ 8234747 h 10394676"/>
              <a:gd name="connsiteX127" fmla="*/ 8972285 w 10375356"/>
              <a:gd name="connsiteY127" fmla="*/ 8234747 h 10394676"/>
              <a:gd name="connsiteX128" fmla="*/ 8972285 w 10375356"/>
              <a:gd name="connsiteY128" fmla="*/ 8745569 h 10394676"/>
              <a:gd name="connsiteX129" fmla="*/ 8870376 w 10375356"/>
              <a:gd name="connsiteY129" fmla="*/ 8745569 h 10394676"/>
              <a:gd name="connsiteX130" fmla="*/ 8046180 w 10375356"/>
              <a:gd name="connsiteY130" fmla="*/ 8234747 h 10394676"/>
              <a:gd name="connsiteX131" fmla="*/ 8148089 w 10375356"/>
              <a:gd name="connsiteY131" fmla="*/ 8234747 h 10394676"/>
              <a:gd name="connsiteX132" fmla="*/ 8148089 w 10375356"/>
              <a:gd name="connsiteY132" fmla="*/ 8745569 h 10394676"/>
              <a:gd name="connsiteX133" fmla="*/ 8046180 w 10375356"/>
              <a:gd name="connsiteY133" fmla="*/ 8745569 h 10394676"/>
              <a:gd name="connsiteX134" fmla="*/ 3094685 w 10375356"/>
              <a:gd name="connsiteY134" fmla="*/ 8234747 h 10394676"/>
              <a:gd name="connsiteX135" fmla="*/ 3196595 w 10375356"/>
              <a:gd name="connsiteY135" fmla="*/ 8234747 h 10394676"/>
              <a:gd name="connsiteX136" fmla="*/ 3196595 w 10375356"/>
              <a:gd name="connsiteY136" fmla="*/ 8745569 h 10394676"/>
              <a:gd name="connsiteX137" fmla="*/ 3094685 w 10375356"/>
              <a:gd name="connsiteY137" fmla="*/ 8745569 h 10394676"/>
              <a:gd name="connsiteX138" fmla="*/ 9489477 w 10375356"/>
              <a:gd name="connsiteY138" fmla="*/ 7615645 h 10394676"/>
              <a:gd name="connsiteX139" fmla="*/ 9824110 w 10375356"/>
              <a:gd name="connsiteY139" fmla="*/ 7615645 h 10394676"/>
              <a:gd name="connsiteX140" fmla="*/ 9792198 w 10375356"/>
              <a:gd name="connsiteY140" fmla="*/ 7681890 h 10394676"/>
              <a:gd name="connsiteX141" fmla="*/ 9770531 w 10375356"/>
              <a:gd name="connsiteY141" fmla="*/ 7717555 h 10394676"/>
              <a:gd name="connsiteX142" fmla="*/ 9489477 w 10375356"/>
              <a:gd name="connsiteY142" fmla="*/ 7717555 h 10394676"/>
              <a:gd name="connsiteX143" fmla="*/ 8666557 w 10375356"/>
              <a:gd name="connsiteY143" fmla="*/ 7615645 h 10394676"/>
              <a:gd name="connsiteX144" fmla="*/ 9177379 w 10375356"/>
              <a:gd name="connsiteY144" fmla="*/ 7615645 h 10394676"/>
              <a:gd name="connsiteX145" fmla="*/ 9177379 w 10375356"/>
              <a:gd name="connsiteY145" fmla="*/ 7717555 h 10394676"/>
              <a:gd name="connsiteX146" fmla="*/ 8666557 w 10375356"/>
              <a:gd name="connsiteY146" fmla="*/ 7717555 h 10394676"/>
              <a:gd name="connsiteX147" fmla="*/ 2322721 w 10375356"/>
              <a:gd name="connsiteY147" fmla="*/ 7503545 h 10394676"/>
              <a:gd name="connsiteX148" fmla="*/ 2159665 w 10375356"/>
              <a:gd name="connsiteY148" fmla="*/ 7666599 h 10394676"/>
              <a:gd name="connsiteX149" fmla="*/ 2322721 w 10375356"/>
              <a:gd name="connsiteY149" fmla="*/ 7829655 h 10394676"/>
              <a:gd name="connsiteX150" fmla="*/ 2485776 w 10375356"/>
              <a:gd name="connsiteY150" fmla="*/ 7666599 h 10394676"/>
              <a:gd name="connsiteX151" fmla="*/ 2322721 w 10375356"/>
              <a:gd name="connsiteY151" fmla="*/ 7503545 h 10394676"/>
              <a:gd name="connsiteX152" fmla="*/ 8046180 w 10375356"/>
              <a:gd name="connsiteY152" fmla="*/ 7410553 h 10394676"/>
              <a:gd name="connsiteX153" fmla="*/ 8148089 w 10375356"/>
              <a:gd name="connsiteY153" fmla="*/ 7410553 h 10394676"/>
              <a:gd name="connsiteX154" fmla="*/ 8148089 w 10375356"/>
              <a:gd name="connsiteY154" fmla="*/ 7921375 h 10394676"/>
              <a:gd name="connsiteX155" fmla="*/ 8046180 w 10375356"/>
              <a:gd name="connsiteY155" fmla="*/ 7921375 h 10394676"/>
              <a:gd name="connsiteX156" fmla="*/ 1447573 w 10375356"/>
              <a:gd name="connsiteY156" fmla="*/ 7410553 h 10394676"/>
              <a:gd name="connsiteX157" fmla="*/ 1549483 w 10375356"/>
              <a:gd name="connsiteY157" fmla="*/ 7410553 h 10394676"/>
              <a:gd name="connsiteX158" fmla="*/ 1549483 w 10375356"/>
              <a:gd name="connsiteY158" fmla="*/ 7921375 h 10394676"/>
              <a:gd name="connsiteX159" fmla="*/ 1447573 w 10375356"/>
              <a:gd name="connsiteY159" fmla="*/ 7921375 h 10394676"/>
              <a:gd name="connsiteX160" fmla="*/ 2322721 w 10375356"/>
              <a:gd name="connsiteY160" fmla="*/ 7401633 h 10394676"/>
              <a:gd name="connsiteX161" fmla="*/ 2587686 w 10375356"/>
              <a:gd name="connsiteY161" fmla="*/ 7666599 h 10394676"/>
              <a:gd name="connsiteX162" fmla="*/ 2322721 w 10375356"/>
              <a:gd name="connsiteY162" fmla="*/ 7931565 h 10394676"/>
              <a:gd name="connsiteX163" fmla="*/ 2057755 w 10375356"/>
              <a:gd name="connsiteY163" fmla="*/ 7666599 h 10394676"/>
              <a:gd name="connsiteX164" fmla="*/ 2322721 w 10375356"/>
              <a:gd name="connsiteY164" fmla="*/ 7401633 h 10394676"/>
              <a:gd name="connsiteX165" fmla="*/ 674333 w 10375356"/>
              <a:gd name="connsiteY165" fmla="*/ 7401633 h 10394676"/>
              <a:gd name="connsiteX166" fmla="*/ 939299 w 10375356"/>
              <a:gd name="connsiteY166" fmla="*/ 7666599 h 10394676"/>
              <a:gd name="connsiteX167" fmla="*/ 777537 w 10375356"/>
              <a:gd name="connsiteY167" fmla="*/ 7910765 h 10394676"/>
              <a:gd name="connsiteX168" fmla="*/ 769452 w 10375356"/>
              <a:gd name="connsiteY168" fmla="*/ 7913271 h 10394676"/>
              <a:gd name="connsiteX169" fmla="*/ 713980 w 10375356"/>
              <a:gd name="connsiteY169" fmla="*/ 7821961 h 10394676"/>
              <a:gd name="connsiteX170" fmla="*/ 739241 w 10375356"/>
              <a:gd name="connsiteY170" fmla="*/ 7816897 h 10394676"/>
              <a:gd name="connsiteX171" fmla="*/ 838662 w 10375356"/>
              <a:gd name="connsiteY171" fmla="*/ 7666599 h 10394676"/>
              <a:gd name="connsiteX172" fmla="*/ 675607 w 10375356"/>
              <a:gd name="connsiteY172" fmla="*/ 7503545 h 10394676"/>
              <a:gd name="connsiteX173" fmla="*/ 611973 w 10375356"/>
              <a:gd name="connsiteY173" fmla="*/ 7516304 h 10394676"/>
              <a:gd name="connsiteX174" fmla="*/ 564501 w 10375356"/>
              <a:gd name="connsiteY174" fmla="*/ 7548238 h 10394676"/>
              <a:gd name="connsiteX175" fmla="*/ 518632 w 10375356"/>
              <a:gd name="connsiteY175" fmla="*/ 7453019 h 10394676"/>
              <a:gd name="connsiteX176" fmla="*/ 526119 w 10375356"/>
              <a:gd name="connsiteY176" fmla="*/ 7446844 h 10394676"/>
              <a:gd name="connsiteX177" fmla="*/ 674333 w 10375356"/>
              <a:gd name="connsiteY177" fmla="*/ 7401633 h 10394676"/>
              <a:gd name="connsiteX178" fmla="*/ 8148089 w 10375356"/>
              <a:gd name="connsiteY178" fmla="*/ 7094869 h 10394676"/>
              <a:gd name="connsiteX179" fmla="*/ 8148089 w 10375356"/>
              <a:gd name="connsiteY179" fmla="*/ 7097179 h 10394676"/>
              <a:gd name="connsiteX180" fmla="*/ 8146686 w 10375356"/>
              <a:gd name="connsiteY180" fmla="*/ 7097179 h 10394676"/>
              <a:gd name="connsiteX181" fmla="*/ 8665281 w 10375356"/>
              <a:gd name="connsiteY181" fmla="*/ 6791449 h 10394676"/>
              <a:gd name="connsiteX182" fmla="*/ 9176104 w 10375356"/>
              <a:gd name="connsiteY182" fmla="*/ 6791449 h 10394676"/>
              <a:gd name="connsiteX183" fmla="*/ 9176104 w 10375356"/>
              <a:gd name="connsiteY183" fmla="*/ 6893357 h 10394676"/>
              <a:gd name="connsiteX184" fmla="*/ 8665281 w 10375356"/>
              <a:gd name="connsiteY184" fmla="*/ 6893357 h 10394676"/>
              <a:gd name="connsiteX185" fmla="*/ 2066681 w 10375356"/>
              <a:gd name="connsiteY185" fmla="*/ 6791449 h 10394676"/>
              <a:gd name="connsiteX186" fmla="*/ 2098040 w 10375356"/>
              <a:gd name="connsiteY186" fmla="*/ 6791449 h 10394676"/>
              <a:gd name="connsiteX187" fmla="*/ 2133958 w 10375356"/>
              <a:gd name="connsiteY187" fmla="*/ 6866010 h 10394676"/>
              <a:gd name="connsiteX188" fmla="*/ 2150572 w 10375356"/>
              <a:gd name="connsiteY188" fmla="*/ 6893357 h 10394676"/>
              <a:gd name="connsiteX189" fmla="*/ 2066681 w 10375356"/>
              <a:gd name="connsiteY189" fmla="*/ 6893357 h 10394676"/>
              <a:gd name="connsiteX190" fmla="*/ 419562 w 10375356"/>
              <a:gd name="connsiteY190" fmla="*/ 6791449 h 10394676"/>
              <a:gd name="connsiteX191" fmla="*/ 930385 w 10375356"/>
              <a:gd name="connsiteY191" fmla="*/ 6791449 h 10394676"/>
              <a:gd name="connsiteX192" fmla="*/ 930385 w 10375356"/>
              <a:gd name="connsiteY192" fmla="*/ 6893357 h 10394676"/>
              <a:gd name="connsiteX193" fmla="*/ 419562 w 10375356"/>
              <a:gd name="connsiteY193" fmla="*/ 6893357 h 10394676"/>
              <a:gd name="connsiteX194" fmla="*/ 9745526 w 10375356"/>
              <a:gd name="connsiteY194" fmla="*/ 6679349 h 10394676"/>
              <a:gd name="connsiteX195" fmla="*/ 9582469 w 10375356"/>
              <a:gd name="connsiteY195" fmla="*/ 6842405 h 10394676"/>
              <a:gd name="connsiteX196" fmla="*/ 9745526 w 10375356"/>
              <a:gd name="connsiteY196" fmla="*/ 7005461 h 10394676"/>
              <a:gd name="connsiteX197" fmla="*/ 9908582 w 10375356"/>
              <a:gd name="connsiteY197" fmla="*/ 6842405 h 10394676"/>
              <a:gd name="connsiteX198" fmla="*/ 9745526 w 10375356"/>
              <a:gd name="connsiteY198" fmla="*/ 6679349 h 10394676"/>
              <a:gd name="connsiteX199" fmla="*/ 1498533 w 10375356"/>
              <a:gd name="connsiteY199" fmla="*/ 6679349 h 10394676"/>
              <a:gd name="connsiteX200" fmla="*/ 1335477 w 10375356"/>
              <a:gd name="connsiteY200" fmla="*/ 6842405 h 10394676"/>
              <a:gd name="connsiteX201" fmla="*/ 1498533 w 10375356"/>
              <a:gd name="connsiteY201" fmla="*/ 7005461 h 10394676"/>
              <a:gd name="connsiteX202" fmla="*/ 1661588 w 10375356"/>
              <a:gd name="connsiteY202" fmla="*/ 6842405 h 10394676"/>
              <a:gd name="connsiteX203" fmla="*/ 1498533 w 10375356"/>
              <a:gd name="connsiteY203" fmla="*/ 6679349 h 10394676"/>
              <a:gd name="connsiteX204" fmla="*/ 9744252 w 10375356"/>
              <a:gd name="connsiteY204" fmla="*/ 6577439 h 10394676"/>
              <a:gd name="connsiteX205" fmla="*/ 10009217 w 10375356"/>
              <a:gd name="connsiteY205" fmla="*/ 6842405 h 10394676"/>
              <a:gd name="connsiteX206" fmla="*/ 9744252 w 10375356"/>
              <a:gd name="connsiteY206" fmla="*/ 7107369 h 10394676"/>
              <a:gd name="connsiteX207" fmla="*/ 9479286 w 10375356"/>
              <a:gd name="connsiteY207" fmla="*/ 6842405 h 10394676"/>
              <a:gd name="connsiteX208" fmla="*/ 9744252 w 10375356"/>
              <a:gd name="connsiteY208" fmla="*/ 6577439 h 10394676"/>
              <a:gd name="connsiteX209" fmla="*/ 1499807 w 10375356"/>
              <a:gd name="connsiteY209" fmla="*/ 6577439 h 10394676"/>
              <a:gd name="connsiteX210" fmla="*/ 1764771 w 10375356"/>
              <a:gd name="connsiteY210" fmla="*/ 6842405 h 10394676"/>
              <a:gd name="connsiteX211" fmla="*/ 1499807 w 10375356"/>
              <a:gd name="connsiteY211" fmla="*/ 7107369 h 10394676"/>
              <a:gd name="connsiteX212" fmla="*/ 1234841 w 10375356"/>
              <a:gd name="connsiteY212" fmla="*/ 6842405 h 10394676"/>
              <a:gd name="connsiteX213" fmla="*/ 1499807 w 10375356"/>
              <a:gd name="connsiteY213" fmla="*/ 6577439 h 10394676"/>
              <a:gd name="connsiteX214" fmla="*/ 8921331 w 10375356"/>
              <a:gd name="connsiteY214" fmla="*/ 5855153 h 10394676"/>
              <a:gd name="connsiteX215" fmla="*/ 8758274 w 10375356"/>
              <a:gd name="connsiteY215" fmla="*/ 6018209 h 10394676"/>
              <a:gd name="connsiteX216" fmla="*/ 8921331 w 10375356"/>
              <a:gd name="connsiteY216" fmla="*/ 6181265 h 10394676"/>
              <a:gd name="connsiteX217" fmla="*/ 9084385 w 10375356"/>
              <a:gd name="connsiteY217" fmla="*/ 6018209 h 10394676"/>
              <a:gd name="connsiteX218" fmla="*/ 8921331 w 10375356"/>
              <a:gd name="connsiteY218" fmla="*/ 5855153 h 10394676"/>
              <a:gd name="connsiteX219" fmla="*/ 674337 w 10375356"/>
              <a:gd name="connsiteY219" fmla="*/ 5855153 h 10394676"/>
              <a:gd name="connsiteX220" fmla="*/ 511282 w 10375356"/>
              <a:gd name="connsiteY220" fmla="*/ 6018209 h 10394676"/>
              <a:gd name="connsiteX221" fmla="*/ 674337 w 10375356"/>
              <a:gd name="connsiteY221" fmla="*/ 6181265 h 10394676"/>
              <a:gd name="connsiteX222" fmla="*/ 837393 w 10375356"/>
              <a:gd name="connsiteY222" fmla="*/ 6018209 h 10394676"/>
              <a:gd name="connsiteX223" fmla="*/ 674337 w 10375356"/>
              <a:gd name="connsiteY223" fmla="*/ 5855153 h 10394676"/>
              <a:gd name="connsiteX224" fmla="*/ 10375356 w 10375356"/>
              <a:gd name="connsiteY224" fmla="*/ 5854333 h 10394676"/>
              <a:gd name="connsiteX225" fmla="*/ 10334572 w 10375356"/>
              <a:gd name="connsiteY225" fmla="*/ 6121561 h 10394676"/>
              <a:gd name="connsiteX226" fmla="*/ 10334472 w 10375356"/>
              <a:gd name="connsiteY226" fmla="*/ 6121413 h 10394676"/>
              <a:gd name="connsiteX227" fmla="*/ 10313672 w 10375356"/>
              <a:gd name="connsiteY227" fmla="*/ 6018209 h 10394676"/>
              <a:gd name="connsiteX228" fmla="*/ 10334472 w 10375356"/>
              <a:gd name="connsiteY228" fmla="*/ 5915005 h 10394676"/>
              <a:gd name="connsiteX229" fmla="*/ 9694571 w 10375356"/>
              <a:gd name="connsiteY229" fmla="*/ 5763433 h 10394676"/>
              <a:gd name="connsiteX230" fmla="*/ 9796481 w 10375356"/>
              <a:gd name="connsiteY230" fmla="*/ 5763433 h 10394676"/>
              <a:gd name="connsiteX231" fmla="*/ 9796481 w 10375356"/>
              <a:gd name="connsiteY231" fmla="*/ 6274257 h 10394676"/>
              <a:gd name="connsiteX232" fmla="*/ 9694571 w 10375356"/>
              <a:gd name="connsiteY232" fmla="*/ 6274257 h 10394676"/>
              <a:gd name="connsiteX233" fmla="*/ 1447575 w 10375356"/>
              <a:gd name="connsiteY233" fmla="*/ 5763433 h 10394676"/>
              <a:gd name="connsiteX234" fmla="*/ 1549485 w 10375356"/>
              <a:gd name="connsiteY234" fmla="*/ 5763433 h 10394676"/>
              <a:gd name="connsiteX235" fmla="*/ 1549485 w 10375356"/>
              <a:gd name="connsiteY235" fmla="*/ 6274257 h 10394676"/>
              <a:gd name="connsiteX236" fmla="*/ 1447575 w 10375356"/>
              <a:gd name="connsiteY236" fmla="*/ 6274257 h 10394676"/>
              <a:gd name="connsiteX237" fmla="*/ 8922604 w 10375356"/>
              <a:gd name="connsiteY237" fmla="*/ 5753243 h 10394676"/>
              <a:gd name="connsiteX238" fmla="*/ 9187569 w 10375356"/>
              <a:gd name="connsiteY238" fmla="*/ 6018209 h 10394676"/>
              <a:gd name="connsiteX239" fmla="*/ 8922604 w 10375356"/>
              <a:gd name="connsiteY239" fmla="*/ 6283173 h 10394676"/>
              <a:gd name="connsiteX240" fmla="*/ 8657638 w 10375356"/>
              <a:gd name="connsiteY240" fmla="*/ 6018209 h 10394676"/>
              <a:gd name="connsiteX241" fmla="*/ 8922604 w 10375356"/>
              <a:gd name="connsiteY241" fmla="*/ 5753243 h 10394676"/>
              <a:gd name="connsiteX242" fmla="*/ 675610 w 10375356"/>
              <a:gd name="connsiteY242" fmla="*/ 5753243 h 10394676"/>
              <a:gd name="connsiteX243" fmla="*/ 940577 w 10375356"/>
              <a:gd name="connsiteY243" fmla="*/ 6018209 h 10394676"/>
              <a:gd name="connsiteX244" fmla="*/ 675610 w 10375356"/>
              <a:gd name="connsiteY244" fmla="*/ 6283173 h 10394676"/>
              <a:gd name="connsiteX245" fmla="*/ 410646 w 10375356"/>
              <a:gd name="connsiteY245" fmla="*/ 6018209 h 10394676"/>
              <a:gd name="connsiteX246" fmla="*/ 675610 w 10375356"/>
              <a:gd name="connsiteY246" fmla="*/ 5753243 h 10394676"/>
              <a:gd name="connsiteX247" fmla="*/ 9489477 w 10375356"/>
              <a:gd name="connsiteY247" fmla="*/ 5143057 h 10394676"/>
              <a:gd name="connsiteX248" fmla="*/ 10000300 w 10375356"/>
              <a:gd name="connsiteY248" fmla="*/ 5143057 h 10394676"/>
              <a:gd name="connsiteX249" fmla="*/ 10000300 w 10375356"/>
              <a:gd name="connsiteY249" fmla="*/ 5244969 h 10394676"/>
              <a:gd name="connsiteX250" fmla="*/ 9489477 w 10375356"/>
              <a:gd name="connsiteY250" fmla="*/ 5244969 h 10394676"/>
              <a:gd name="connsiteX251" fmla="*/ 8706634 w 10375356"/>
              <a:gd name="connsiteY251" fmla="*/ 5143057 h 10394676"/>
              <a:gd name="connsiteX252" fmla="*/ 9176104 w 10375356"/>
              <a:gd name="connsiteY252" fmla="*/ 5143057 h 10394676"/>
              <a:gd name="connsiteX253" fmla="*/ 9176104 w 10375356"/>
              <a:gd name="connsiteY253" fmla="*/ 5244969 h 10394676"/>
              <a:gd name="connsiteX254" fmla="*/ 8707060 w 10375356"/>
              <a:gd name="connsiteY254" fmla="*/ 5244969 h 10394676"/>
              <a:gd name="connsiteX255" fmla="*/ 8709420 w 10375356"/>
              <a:gd name="connsiteY255" fmla="*/ 5198237 h 10394676"/>
              <a:gd name="connsiteX256" fmla="*/ 1242485 w 10375356"/>
              <a:gd name="connsiteY256" fmla="*/ 5143057 h 10394676"/>
              <a:gd name="connsiteX257" fmla="*/ 1714449 w 10375356"/>
              <a:gd name="connsiteY257" fmla="*/ 5143057 h 10394676"/>
              <a:gd name="connsiteX258" fmla="*/ 1711662 w 10375356"/>
              <a:gd name="connsiteY258" fmla="*/ 5198237 h 10394676"/>
              <a:gd name="connsiteX259" fmla="*/ 1714022 w 10375356"/>
              <a:gd name="connsiteY259" fmla="*/ 5244969 h 10394676"/>
              <a:gd name="connsiteX260" fmla="*/ 1242485 w 10375356"/>
              <a:gd name="connsiteY260" fmla="*/ 5244969 h 10394676"/>
              <a:gd name="connsiteX261" fmla="*/ 2787 w 10375356"/>
              <a:gd name="connsiteY261" fmla="*/ 5143057 h 10394676"/>
              <a:gd name="connsiteX262" fmla="*/ 97302 w 10375356"/>
              <a:gd name="connsiteY262" fmla="*/ 5143057 h 10394676"/>
              <a:gd name="connsiteX263" fmla="*/ 97302 w 10375356"/>
              <a:gd name="connsiteY263" fmla="*/ 5244969 h 10394676"/>
              <a:gd name="connsiteX264" fmla="*/ 2360 w 10375356"/>
              <a:gd name="connsiteY264" fmla="*/ 5244969 h 10394676"/>
              <a:gd name="connsiteX265" fmla="*/ 0 w 10375356"/>
              <a:gd name="connsiteY265" fmla="*/ 5198237 h 10394676"/>
              <a:gd name="connsiteX266" fmla="*/ 623389 w 10375356"/>
              <a:gd name="connsiteY266" fmla="*/ 4939239 h 10394676"/>
              <a:gd name="connsiteX267" fmla="*/ 725299 w 10375356"/>
              <a:gd name="connsiteY267" fmla="*/ 4939239 h 10394676"/>
              <a:gd name="connsiteX268" fmla="*/ 725299 w 10375356"/>
              <a:gd name="connsiteY268" fmla="*/ 5450061 h 10394676"/>
              <a:gd name="connsiteX269" fmla="*/ 623389 w 10375356"/>
              <a:gd name="connsiteY269" fmla="*/ 5450061 h 10394676"/>
              <a:gd name="connsiteX270" fmla="*/ 86723 w 10375356"/>
              <a:gd name="connsiteY270" fmla="*/ 4273524 h 10394676"/>
              <a:gd name="connsiteX271" fmla="*/ 106218 w 10375356"/>
              <a:gd name="connsiteY271" fmla="*/ 4371093 h 10394676"/>
              <a:gd name="connsiteX272" fmla="*/ 85418 w 10375356"/>
              <a:gd name="connsiteY272" fmla="*/ 4474296 h 10394676"/>
              <a:gd name="connsiteX273" fmla="*/ 47492 w 10375356"/>
              <a:gd name="connsiteY273" fmla="*/ 4530579 h 10394676"/>
              <a:gd name="connsiteX274" fmla="*/ 9745526 w 10375356"/>
              <a:gd name="connsiteY274" fmla="*/ 4208037 h 10394676"/>
              <a:gd name="connsiteX275" fmla="*/ 9582469 w 10375356"/>
              <a:gd name="connsiteY275" fmla="*/ 4371093 h 10394676"/>
              <a:gd name="connsiteX276" fmla="*/ 9745526 w 10375356"/>
              <a:gd name="connsiteY276" fmla="*/ 4534147 h 10394676"/>
              <a:gd name="connsiteX277" fmla="*/ 9908582 w 10375356"/>
              <a:gd name="connsiteY277" fmla="*/ 4371093 h 10394676"/>
              <a:gd name="connsiteX278" fmla="*/ 9745526 w 10375356"/>
              <a:gd name="connsiteY278" fmla="*/ 4208037 h 10394676"/>
              <a:gd name="connsiteX279" fmla="*/ 1498539 w 10375356"/>
              <a:gd name="connsiteY279" fmla="*/ 4208037 h 10394676"/>
              <a:gd name="connsiteX280" fmla="*/ 1335482 w 10375356"/>
              <a:gd name="connsiteY280" fmla="*/ 4371093 h 10394676"/>
              <a:gd name="connsiteX281" fmla="*/ 1498539 w 10375356"/>
              <a:gd name="connsiteY281" fmla="*/ 4534147 h 10394676"/>
              <a:gd name="connsiteX282" fmla="*/ 1661593 w 10375356"/>
              <a:gd name="connsiteY282" fmla="*/ 4371093 h 10394676"/>
              <a:gd name="connsiteX283" fmla="*/ 1498539 w 10375356"/>
              <a:gd name="connsiteY283" fmla="*/ 4208037 h 10394676"/>
              <a:gd name="connsiteX284" fmla="*/ 8870376 w 10375356"/>
              <a:gd name="connsiteY284" fmla="*/ 4115043 h 10394676"/>
              <a:gd name="connsiteX285" fmla="*/ 8972285 w 10375356"/>
              <a:gd name="connsiteY285" fmla="*/ 4115043 h 10394676"/>
              <a:gd name="connsiteX286" fmla="*/ 8972285 w 10375356"/>
              <a:gd name="connsiteY286" fmla="*/ 4625865 h 10394676"/>
              <a:gd name="connsiteX287" fmla="*/ 8870376 w 10375356"/>
              <a:gd name="connsiteY287" fmla="*/ 4625865 h 10394676"/>
              <a:gd name="connsiteX288" fmla="*/ 623387 w 10375356"/>
              <a:gd name="connsiteY288" fmla="*/ 4115043 h 10394676"/>
              <a:gd name="connsiteX289" fmla="*/ 725297 w 10375356"/>
              <a:gd name="connsiteY289" fmla="*/ 4115043 h 10394676"/>
              <a:gd name="connsiteX290" fmla="*/ 725297 w 10375356"/>
              <a:gd name="connsiteY290" fmla="*/ 4625865 h 10394676"/>
              <a:gd name="connsiteX291" fmla="*/ 623387 w 10375356"/>
              <a:gd name="connsiteY291" fmla="*/ 4625865 h 10394676"/>
              <a:gd name="connsiteX292" fmla="*/ 9744252 w 10375356"/>
              <a:gd name="connsiteY292" fmla="*/ 4106125 h 10394676"/>
              <a:gd name="connsiteX293" fmla="*/ 10009217 w 10375356"/>
              <a:gd name="connsiteY293" fmla="*/ 4371093 h 10394676"/>
              <a:gd name="connsiteX294" fmla="*/ 9744252 w 10375356"/>
              <a:gd name="connsiteY294" fmla="*/ 4636057 h 10394676"/>
              <a:gd name="connsiteX295" fmla="*/ 9479286 w 10375356"/>
              <a:gd name="connsiteY295" fmla="*/ 4371093 h 10394676"/>
              <a:gd name="connsiteX296" fmla="*/ 9744252 w 10375356"/>
              <a:gd name="connsiteY296" fmla="*/ 4106125 h 10394676"/>
              <a:gd name="connsiteX297" fmla="*/ 1499812 w 10375356"/>
              <a:gd name="connsiteY297" fmla="*/ 4106125 h 10394676"/>
              <a:gd name="connsiteX298" fmla="*/ 1764778 w 10375356"/>
              <a:gd name="connsiteY298" fmla="*/ 4371093 h 10394676"/>
              <a:gd name="connsiteX299" fmla="*/ 1499812 w 10375356"/>
              <a:gd name="connsiteY299" fmla="*/ 4636057 h 10394676"/>
              <a:gd name="connsiteX300" fmla="*/ 1234846 w 10375356"/>
              <a:gd name="connsiteY300" fmla="*/ 4371093 h 10394676"/>
              <a:gd name="connsiteX301" fmla="*/ 1499812 w 10375356"/>
              <a:gd name="connsiteY301" fmla="*/ 4106125 h 10394676"/>
              <a:gd name="connsiteX302" fmla="*/ 9489477 w 10375356"/>
              <a:gd name="connsiteY302" fmla="*/ 3495941 h 10394676"/>
              <a:gd name="connsiteX303" fmla="*/ 10000300 w 10375356"/>
              <a:gd name="connsiteY303" fmla="*/ 3495941 h 10394676"/>
              <a:gd name="connsiteX304" fmla="*/ 10000300 w 10375356"/>
              <a:gd name="connsiteY304" fmla="*/ 3597851 h 10394676"/>
              <a:gd name="connsiteX305" fmla="*/ 9489477 w 10375356"/>
              <a:gd name="connsiteY305" fmla="*/ 3597851 h 10394676"/>
              <a:gd name="connsiteX306" fmla="*/ 2066685 w 10375356"/>
              <a:gd name="connsiteY306" fmla="*/ 3495941 h 10394676"/>
              <a:gd name="connsiteX307" fmla="*/ 2154931 w 10375356"/>
              <a:gd name="connsiteY307" fmla="*/ 3495941 h 10394676"/>
              <a:gd name="connsiteX308" fmla="*/ 2133958 w 10375356"/>
              <a:gd name="connsiteY308" fmla="*/ 3530464 h 10394676"/>
              <a:gd name="connsiteX309" fmla="*/ 2101496 w 10375356"/>
              <a:gd name="connsiteY309" fmla="*/ 3597851 h 10394676"/>
              <a:gd name="connsiteX310" fmla="*/ 2066685 w 10375356"/>
              <a:gd name="connsiteY310" fmla="*/ 3597851 h 10394676"/>
              <a:gd name="connsiteX311" fmla="*/ 674343 w 10375356"/>
              <a:gd name="connsiteY311" fmla="*/ 3383841 h 10394676"/>
              <a:gd name="connsiteX312" fmla="*/ 511289 w 10375356"/>
              <a:gd name="connsiteY312" fmla="*/ 3546897 h 10394676"/>
              <a:gd name="connsiteX313" fmla="*/ 674343 w 10375356"/>
              <a:gd name="connsiteY313" fmla="*/ 3709953 h 10394676"/>
              <a:gd name="connsiteX314" fmla="*/ 837399 w 10375356"/>
              <a:gd name="connsiteY314" fmla="*/ 3546897 h 10394676"/>
              <a:gd name="connsiteX315" fmla="*/ 674343 w 10375356"/>
              <a:gd name="connsiteY315" fmla="*/ 3383841 h 10394676"/>
              <a:gd name="connsiteX316" fmla="*/ 8870376 w 10375356"/>
              <a:gd name="connsiteY316" fmla="*/ 3292121 h 10394676"/>
              <a:gd name="connsiteX317" fmla="*/ 8972285 w 10375356"/>
              <a:gd name="connsiteY317" fmla="*/ 3292121 h 10394676"/>
              <a:gd name="connsiteX318" fmla="*/ 8972285 w 10375356"/>
              <a:gd name="connsiteY318" fmla="*/ 3802945 h 10394676"/>
              <a:gd name="connsiteX319" fmla="*/ 8870376 w 10375356"/>
              <a:gd name="connsiteY319" fmla="*/ 3802945 h 10394676"/>
              <a:gd name="connsiteX320" fmla="*/ 8142327 w 10375356"/>
              <a:gd name="connsiteY320" fmla="*/ 3292121 h 10394676"/>
              <a:gd name="connsiteX321" fmla="*/ 8148089 w 10375356"/>
              <a:gd name="connsiteY321" fmla="*/ 3292121 h 10394676"/>
              <a:gd name="connsiteX322" fmla="*/ 8148089 w 10375356"/>
              <a:gd name="connsiteY322" fmla="*/ 3301606 h 10394676"/>
              <a:gd name="connsiteX323" fmla="*/ 1447583 w 10375356"/>
              <a:gd name="connsiteY323" fmla="*/ 3292121 h 10394676"/>
              <a:gd name="connsiteX324" fmla="*/ 1549493 w 10375356"/>
              <a:gd name="connsiteY324" fmla="*/ 3292121 h 10394676"/>
              <a:gd name="connsiteX325" fmla="*/ 1549493 w 10375356"/>
              <a:gd name="connsiteY325" fmla="*/ 3802945 h 10394676"/>
              <a:gd name="connsiteX326" fmla="*/ 1447583 w 10375356"/>
              <a:gd name="connsiteY326" fmla="*/ 3802945 h 10394676"/>
              <a:gd name="connsiteX327" fmla="*/ 675617 w 10375356"/>
              <a:gd name="connsiteY327" fmla="*/ 3281931 h 10394676"/>
              <a:gd name="connsiteX328" fmla="*/ 940583 w 10375356"/>
              <a:gd name="connsiteY328" fmla="*/ 3546897 h 10394676"/>
              <a:gd name="connsiteX329" fmla="*/ 675617 w 10375356"/>
              <a:gd name="connsiteY329" fmla="*/ 3811861 h 10394676"/>
              <a:gd name="connsiteX330" fmla="*/ 410652 w 10375356"/>
              <a:gd name="connsiteY330" fmla="*/ 3546897 h 10394676"/>
              <a:gd name="connsiteX331" fmla="*/ 675617 w 10375356"/>
              <a:gd name="connsiteY331" fmla="*/ 3281931 h 10394676"/>
              <a:gd name="connsiteX332" fmla="*/ 1242482 w 10375356"/>
              <a:gd name="connsiteY332" fmla="*/ 2671745 h 10394676"/>
              <a:gd name="connsiteX333" fmla="*/ 1753305 w 10375356"/>
              <a:gd name="connsiteY333" fmla="*/ 2671745 h 10394676"/>
              <a:gd name="connsiteX334" fmla="*/ 1753305 w 10375356"/>
              <a:gd name="connsiteY334" fmla="*/ 2773657 h 10394676"/>
              <a:gd name="connsiteX335" fmla="*/ 1242482 w 10375356"/>
              <a:gd name="connsiteY335" fmla="*/ 2773657 h 10394676"/>
              <a:gd name="connsiteX336" fmla="*/ 8921331 w 10375356"/>
              <a:gd name="connsiteY336" fmla="*/ 2560919 h 10394676"/>
              <a:gd name="connsiteX337" fmla="*/ 8758275 w 10375356"/>
              <a:gd name="connsiteY337" fmla="*/ 2723975 h 10394676"/>
              <a:gd name="connsiteX338" fmla="*/ 8921331 w 10375356"/>
              <a:gd name="connsiteY338" fmla="*/ 2887029 h 10394676"/>
              <a:gd name="connsiteX339" fmla="*/ 9084386 w 10375356"/>
              <a:gd name="connsiteY339" fmla="*/ 2723975 h 10394676"/>
              <a:gd name="connsiteX340" fmla="*/ 8921331 w 10375356"/>
              <a:gd name="connsiteY340" fmla="*/ 2560919 h 10394676"/>
              <a:gd name="connsiteX341" fmla="*/ 2322726 w 10375356"/>
              <a:gd name="connsiteY341" fmla="*/ 2560919 h 10394676"/>
              <a:gd name="connsiteX342" fmla="*/ 2159671 w 10375356"/>
              <a:gd name="connsiteY342" fmla="*/ 2723975 h 10394676"/>
              <a:gd name="connsiteX343" fmla="*/ 2322726 w 10375356"/>
              <a:gd name="connsiteY343" fmla="*/ 2887029 h 10394676"/>
              <a:gd name="connsiteX344" fmla="*/ 2485782 w 10375356"/>
              <a:gd name="connsiteY344" fmla="*/ 2723975 h 10394676"/>
              <a:gd name="connsiteX345" fmla="*/ 2322726 w 10375356"/>
              <a:gd name="connsiteY345" fmla="*/ 2560919 h 10394676"/>
              <a:gd name="connsiteX346" fmla="*/ 9694571 w 10375356"/>
              <a:gd name="connsiteY346" fmla="*/ 2553886 h 10394676"/>
              <a:gd name="connsiteX347" fmla="*/ 9792198 w 10375356"/>
              <a:gd name="connsiteY347" fmla="*/ 2714584 h 10394676"/>
              <a:gd name="connsiteX348" fmla="*/ 9796481 w 10375356"/>
              <a:gd name="connsiteY348" fmla="*/ 2723476 h 10394676"/>
              <a:gd name="connsiteX349" fmla="*/ 9796481 w 10375356"/>
              <a:gd name="connsiteY349" fmla="*/ 2978749 h 10394676"/>
              <a:gd name="connsiteX350" fmla="*/ 9694571 w 10375356"/>
              <a:gd name="connsiteY350" fmla="*/ 2978749 h 10394676"/>
              <a:gd name="connsiteX351" fmla="*/ 772671 w 10375356"/>
              <a:gd name="connsiteY351" fmla="*/ 2477905 h 10394676"/>
              <a:gd name="connsiteX352" fmla="*/ 778813 w 10375356"/>
              <a:gd name="connsiteY352" fmla="*/ 2479809 h 10394676"/>
              <a:gd name="connsiteX353" fmla="*/ 940575 w 10375356"/>
              <a:gd name="connsiteY353" fmla="*/ 2723975 h 10394676"/>
              <a:gd name="connsiteX354" fmla="*/ 675608 w 10375356"/>
              <a:gd name="connsiteY354" fmla="*/ 2988941 h 10394676"/>
              <a:gd name="connsiteX355" fmla="*/ 527394 w 10375356"/>
              <a:gd name="connsiteY355" fmla="*/ 2942835 h 10394676"/>
              <a:gd name="connsiteX356" fmla="*/ 521341 w 10375356"/>
              <a:gd name="connsiteY356" fmla="*/ 2937832 h 10394676"/>
              <a:gd name="connsiteX357" fmla="*/ 566336 w 10375356"/>
              <a:gd name="connsiteY357" fmla="*/ 2844427 h 10394676"/>
              <a:gd name="connsiteX358" fmla="*/ 610701 w 10375356"/>
              <a:gd name="connsiteY358" fmla="*/ 2874271 h 10394676"/>
              <a:gd name="connsiteX359" fmla="*/ 674334 w 10375356"/>
              <a:gd name="connsiteY359" fmla="*/ 2887029 h 10394676"/>
              <a:gd name="connsiteX360" fmla="*/ 837390 w 10375356"/>
              <a:gd name="connsiteY360" fmla="*/ 2723975 h 10394676"/>
              <a:gd name="connsiteX361" fmla="*/ 737968 w 10375356"/>
              <a:gd name="connsiteY361" fmla="*/ 2573678 h 10394676"/>
              <a:gd name="connsiteX362" fmla="*/ 717037 w 10375356"/>
              <a:gd name="connsiteY362" fmla="*/ 2569481 h 10394676"/>
              <a:gd name="connsiteX363" fmla="*/ 8046180 w 10375356"/>
              <a:gd name="connsiteY363" fmla="*/ 2467925 h 10394676"/>
              <a:gd name="connsiteX364" fmla="*/ 8148089 w 10375356"/>
              <a:gd name="connsiteY364" fmla="*/ 2467925 h 10394676"/>
              <a:gd name="connsiteX365" fmla="*/ 8148089 w 10375356"/>
              <a:gd name="connsiteY365" fmla="*/ 2978749 h 10394676"/>
              <a:gd name="connsiteX366" fmla="*/ 8046180 w 10375356"/>
              <a:gd name="connsiteY366" fmla="*/ 2978749 h 10394676"/>
              <a:gd name="connsiteX367" fmla="*/ 8921331 w 10375356"/>
              <a:gd name="connsiteY367" fmla="*/ 2459009 h 10394676"/>
              <a:gd name="connsiteX368" fmla="*/ 9186296 w 10375356"/>
              <a:gd name="connsiteY368" fmla="*/ 2723975 h 10394676"/>
              <a:gd name="connsiteX369" fmla="*/ 8921331 w 10375356"/>
              <a:gd name="connsiteY369" fmla="*/ 2988941 h 10394676"/>
              <a:gd name="connsiteX370" fmla="*/ 8656365 w 10375356"/>
              <a:gd name="connsiteY370" fmla="*/ 2723975 h 10394676"/>
              <a:gd name="connsiteX371" fmla="*/ 8921331 w 10375356"/>
              <a:gd name="connsiteY371" fmla="*/ 2459009 h 10394676"/>
              <a:gd name="connsiteX372" fmla="*/ 2322726 w 10375356"/>
              <a:gd name="connsiteY372" fmla="*/ 2459009 h 10394676"/>
              <a:gd name="connsiteX373" fmla="*/ 2587692 w 10375356"/>
              <a:gd name="connsiteY373" fmla="*/ 2723975 h 10394676"/>
              <a:gd name="connsiteX374" fmla="*/ 2322726 w 10375356"/>
              <a:gd name="connsiteY374" fmla="*/ 2988941 h 10394676"/>
              <a:gd name="connsiteX375" fmla="*/ 2057761 w 10375356"/>
              <a:gd name="connsiteY375" fmla="*/ 2723975 h 10394676"/>
              <a:gd name="connsiteX376" fmla="*/ 2322726 w 10375356"/>
              <a:gd name="connsiteY376" fmla="*/ 2459009 h 10394676"/>
              <a:gd name="connsiteX377" fmla="*/ 7842360 w 10375356"/>
              <a:gd name="connsiteY377" fmla="*/ 1848825 h 10394676"/>
              <a:gd name="connsiteX378" fmla="*/ 8353182 w 10375356"/>
              <a:gd name="connsiteY378" fmla="*/ 1848825 h 10394676"/>
              <a:gd name="connsiteX379" fmla="*/ 8353182 w 10375356"/>
              <a:gd name="connsiteY379" fmla="*/ 1950733 h 10394676"/>
              <a:gd name="connsiteX380" fmla="*/ 7842360 w 10375356"/>
              <a:gd name="connsiteY380" fmla="*/ 1950733 h 10394676"/>
              <a:gd name="connsiteX381" fmla="*/ 6223404 w 10375356"/>
              <a:gd name="connsiteY381" fmla="*/ 1848825 h 10394676"/>
              <a:gd name="connsiteX382" fmla="*/ 6704792 w 10375356"/>
              <a:gd name="connsiteY382" fmla="*/ 1848825 h 10394676"/>
              <a:gd name="connsiteX383" fmla="*/ 6704792 w 10375356"/>
              <a:gd name="connsiteY383" fmla="*/ 1950733 h 10394676"/>
              <a:gd name="connsiteX384" fmla="*/ 6512646 w 10375356"/>
              <a:gd name="connsiteY384" fmla="*/ 1950733 h 10394676"/>
              <a:gd name="connsiteX385" fmla="*/ 6413573 w 10375356"/>
              <a:gd name="connsiteY385" fmla="*/ 1911670 h 10394676"/>
              <a:gd name="connsiteX386" fmla="*/ 6251001 w 10375356"/>
              <a:gd name="connsiteY386" fmla="*/ 1856662 h 10394676"/>
              <a:gd name="connsiteX387" fmla="*/ 2890884 w 10375356"/>
              <a:gd name="connsiteY387" fmla="*/ 1848825 h 10394676"/>
              <a:gd name="connsiteX388" fmla="*/ 3401707 w 10375356"/>
              <a:gd name="connsiteY388" fmla="*/ 1848825 h 10394676"/>
              <a:gd name="connsiteX389" fmla="*/ 3401707 w 10375356"/>
              <a:gd name="connsiteY389" fmla="*/ 1950733 h 10394676"/>
              <a:gd name="connsiteX390" fmla="*/ 2890884 w 10375356"/>
              <a:gd name="connsiteY390" fmla="*/ 1950733 h 10394676"/>
              <a:gd name="connsiteX391" fmla="*/ 1242493 w 10375356"/>
              <a:gd name="connsiteY391" fmla="*/ 1848825 h 10394676"/>
              <a:gd name="connsiteX392" fmla="*/ 1753316 w 10375356"/>
              <a:gd name="connsiteY392" fmla="*/ 1848825 h 10394676"/>
              <a:gd name="connsiteX393" fmla="*/ 1753316 w 10375356"/>
              <a:gd name="connsiteY393" fmla="*/ 1950733 h 10394676"/>
              <a:gd name="connsiteX394" fmla="*/ 1242493 w 10375356"/>
              <a:gd name="connsiteY394" fmla="*/ 1950733 h 10394676"/>
              <a:gd name="connsiteX395" fmla="*/ 8921331 w 10375356"/>
              <a:gd name="connsiteY395" fmla="*/ 1736725 h 10394676"/>
              <a:gd name="connsiteX396" fmla="*/ 8758275 w 10375356"/>
              <a:gd name="connsiteY396" fmla="*/ 1899781 h 10394676"/>
              <a:gd name="connsiteX397" fmla="*/ 8921331 w 10375356"/>
              <a:gd name="connsiteY397" fmla="*/ 2062835 h 10394676"/>
              <a:gd name="connsiteX398" fmla="*/ 9084386 w 10375356"/>
              <a:gd name="connsiteY398" fmla="*/ 1899781 h 10394676"/>
              <a:gd name="connsiteX399" fmla="*/ 8921331 w 10375356"/>
              <a:gd name="connsiteY399" fmla="*/ 1736725 h 10394676"/>
              <a:gd name="connsiteX400" fmla="*/ 7223258 w 10375356"/>
              <a:gd name="connsiteY400" fmla="*/ 1643731 h 10394676"/>
              <a:gd name="connsiteX401" fmla="*/ 7325168 w 10375356"/>
              <a:gd name="connsiteY401" fmla="*/ 1643731 h 10394676"/>
              <a:gd name="connsiteX402" fmla="*/ 7325168 w 10375356"/>
              <a:gd name="connsiteY402" fmla="*/ 2154553 h 10394676"/>
              <a:gd name="connsiteX403" fmla="*/ 7223258 w 10375356"/>
              <a:gd name="connsiteY403" fmla="*/ 2154553 h 10394676"/>
              <a:gd name="connsiteX404" fmla="*/ 2271782 w 10375356"/>
              <a:gd name="connsiteY404" fmla="*/ 1643731 h 10394676"/>
              <a:gd name="connsiteX405" fmla="*/ 2373691 w 10375356"/>
              <a:gd name="connsiteY405" fmla="*/ 1643731 h 10394676"/>
              <a:gd name="connsiteX406" fmla="*/ 2373691 w 10375356"/>
              <a:gd name="connsiteY406" fmla="*/ 2154553 h 10394676"/>
              <a:gd name="connsiteX407" fmla="*/ 2271782 w 10375356"/>
              <a:gd name="connsiteY407" fmla="*/ 2154553 h 10394676"/>
              <a:gd name="connsiteX408" fmla="*/ 8921331 w 10375356"/>
              <a:gd name="connsiteY408" fmla="*/ 1634813 h 10394676"/>
              <a:gd name="connsiteX409" fmla="*/ 9024534 w 10375356"/>
              <a:gd name="connsiteY409" fmla="*/ 1655614 h 10394676"/>
              <a:gd name="connsiteX410" fmla="*/ 9036119 w 10375356"/>
              <a:gd name="connsiteY410" fmla="*/ 1661896 h 10394676"/>
              <a:gd name="connsiteX411" fmla="*/ 9067478 w 10375356"/>
              <a:gd name="connsiteY411" fmla="*/ 1694788 h 10394676"/>
              <a:gd name="connsiteX412" fmla="*/ 9168482 w 10375356"/>
              <a:gd name="connsiteY412" fmla="*/ 1811390 h 10394676"/>
              <a:gd name="connsiteX413" fmla="*/ 9186296 w 10375356"/>
              <a:gd name="connsiteY413" fmla="*/ 1899781 h 10394676"/>
              <a:gd name="connsiteX414" fmla="*/ 8921331 w 10375356"/>
              <a:gd name="connsiteY414" fmla="*/ 2164745 h 10394676"/>
              <a:gd name="connsiteX415" fmla="*/ 8656365 w 10375356"/>
              <a:gd name="connsiteY415" fmla="*/ 1899781 h 10394676"/>
              <a:gd name="connsiteX416" fmla="*/ 8921331 w 10375356"/>
              <a:gd name="connsiteY416" fmla="*/ 1634813 h 10394676"/>
              <a:gd name="connsiteX417" fmla="*/ 3969851 w 10375356"/>
              <a:gd name="connsiteY417" fmla="*/ 1634813 h 10394676"/>
              <a:gd name="connsiteX418" fmla="*/ 4214017 w 10375356"/>
              <a:gd name="connsiteY418" fmla="*/ 1796577 h 10394676"/>
              <a:gd name="connsiteX419" fmla="*/ 4223093 w 10375356"/>
              <a:gd name="connsiteY419" fmla="*/ 1841608 h 10394676"/>
              <a:gd name="connsiteX420" fmla="*/ 4170081 w 10375356"/>
              <a:gd name="connsiteY420" fmla="*/ 1856662 h 10394676"/>
              <a:gd name="connsiteX421" fmla="*/ 4127174 w 10375356"/>
              <a:gd name="connsiteY421" fmla="*/ 1871180 h 10394676"/>
              <a:gd name="connsiteX422" fmla="*/ 4120150 w 10375356"/>
              <a:gd name="connsiteY422" fmla="*/ 1836147 h 10394676"/>
              <a:gd name="connsiteX423" fmla="*/ 3969851 w 10375356"/>
              <a:gd name="connsiteY423" fmla="*/ 1736725 h 10394676"/>
              <a:gd name="connsiteX424" fmla="*/ 3806796 w 10375356"/>
              <a:gd name="connsiteY424" fmla="*/ 1899781 h 10394676"/>
              <a:gd name="connsiteX425" fmla="*/ 3819555 w 10375356"/>
              <a:gd name="connsiteY425" fmla="*/ 1963414 h 10394676"/>
              <a:gd name="connsiteX426" fmla="*/ 3832208 w 10375356"/>
              <a:gd name="connsiteY426" fmla="*/ 1982224 h 10394676"/>
              <a:gd name="connsiteX427" fmla="*/ 3741230 w 10375356"/>
              <a:gd name="connsiteY427" fmla="*/ 2026051 h 10394676"/>
              <a:gd name="connsiteX428" fmla="*/ 3725686 w 10375356"/>
              <a:gd name="connsiteY428" fmla="*/ 2002984 h 10394676"/>
              <a:gd name="connsiteX429" fmla="*/ 3704886 w 10375356"/>
              <a:gd name="connsiteY429" fmla="*/ 1899781 h 10394676"/>
              <a:gd name="connsiteX430" fmla="*/ 3969851 w 10375356"/>
              <a:gd name="connsiteY430" fmla="*/ 1634813 h 10394676"/>
              <a:gd name="connsiteX431" fmla="*/ 7842360 w 10375356"/>
              <a:gd name="connsiteY431" fmla="*/ 1024629 h 10394676"/>
              <a:gd name="connsiteX432" fmla="*/ 8330359 w 10375356"/>
              <a:gd name="connsiteY432" fmla="*/ 1024629 h 10394676"/>
              <a:gd name="connsiteX433" fmla="*/ 8353182 w 10375356"/>
              <a:gd name="connsiteY433" fmla="*/ 1042565 h 10394676"/>
              <a:gd name="connsiteX434" fmla="*/ 8353182 w 10375356"/>
              <a:gd name="connsiteY434" fmla="*/ 1126539 h 10394676"/>
              <a:gd name="connsiteX435" fmla="*/ 7842360 w 10375356"/>
              <a:gd name="connsiteY435" fmla="*/ 1126539 h 10394676"/>
              <a:gd name="connsiteX436" fmla="*/ 5371048 w 10375356"/>
              <a:gd name="connsiteY436" fmla="*/ 1024629 h 10394676"/>
              <a:gd name="connsiteX437" fmla="*/ 5881870 w 10375356"/>
              <a:gd name="connsiteY437" fmla="*/ 1024629 h 10394676"/>
              <a:gd name="connsiteX438" fmla="*/ 5881870 w 10375356"/>
              <a:gd name="connsiteY438" fmla="*/ 1126539 h 10394676"/>
              <a:gd name="connsiteX439" fmla="*/ 5371048 w 10375356"/>
              <a:gd name="connsiteY439" fmla="*/ 1126539 h 10394676"/>
              <a:gd name="connsiteX440" fmla="*/ 4538001 w 10375356"/>
              <a:gd name="connsiteY440" fmla="*/ 1024629 h 10394676"/>
              <a:gd name="connsiteX441" fmla="*/ 5048825 w 10375356"/>
              <a:gd name="connsiteY441" fmla="*/ 1024629 h 10394676"/>
              <a:gd name="connsiteX442" fmla="*/ 5048825 w 10375356"/>
              <a:gd name="connsiteY442" fmla="*/ 1126539 h 10394676"/>
              <a:gd name="connsiteX443" fmla="*/ 4538001 w 10375356"/>
              <a:gd name="connsiteY443" fmla="*/ 1126539 h 10394676"/>
              <a:gd name="connsiteX444" fmla="*/ 2890886 w 10375356"/>
              <a:gd name="connsiteY444" fmla="*/ 1024629 h 10394676"/>
              <a:gd name="connsiteX445" fmla="*/ 3401709 w 10375356"/>
              <a:gd name="connsiteY445" fmla="*/ 1024629 h 10394676"/>
              <a:gd name="connsiteX446" fmla="*/ 3401709 w 10375356"/>
              <a:gd name="connsiteY446" fmla="*/ 1126539 h 10394676"/>
              <a:gd name="connsiteX447" fmla="*/ 2890886 w 10375356"/>
              <a:gd name="connsiteY447" fmla="*/ 1126539 h 10394676"/>
              <a:gd name="connsiteX448" fmla="*/ 6450017 w 10375356"/>
              <a:gd name="connsiteY448" fmla="*/ 912529 h 10394676"/>
              <a:gd name="connsiteX449" fmla="*/ 6286962 w 10375356"/>
              <a:gd name="connsiteY449" fmla="*/ 1075585 h 10394676"/>
              <a:gd name="connsiteX450" fmla="*/ 6450017 w 10375356"/>
              <a:gd name="connsiteY450" fmla="*/ 1238639 h 10394676"/>
              <a:gd name="connsiteX451" fmla="*/ 6613073 w 10375356"/>
              <a:gd name="connsiteY451" fmla="*/ 1075585 h 10394676"/>
              <a:gd name="connsiteX452" fmla="*/ 6450017 w 10375356"/>
              <a:gd name="connsiteY452" fmla="*/ 912529 h 10394676"/>
              <a:gd name="connsiteX453" fmla="*/ 2373692 w 10375356"/>
              <a:gd name="connsiteY453" fmla="*/ 828587 h 10394676"/>
              <a:gd name="connsiteX454" fmla="*/ 2373692 w 10375356"/>
              <a:gd name="connsiteY454" fmla="*/ 1331633 h 10394676"/>
              <a:gd name="connsiteX455" fmla="*/ 2271782 w 10375356"/>
              <a:gd name="connsiteY455" fmla="*/ 1331633 h 10394676"/>
              <a:gd name="connsiteX456" fmla="*/ 2271782 w 10375356"/>
              <a:gd name="connsiteY456" fmla="*/ 895706 h 10394676"/>
              <a:gd name="connsiteX457" fmla="*/ 2297278 w 10375356"/>
              <a:gd name="connsiteY457" fmla="*/ 877575 h 10394676"/>
              <a:gd name="connsiteX458" fmla="*/ 7223258 w 10375356"/>
              <a:gd name="connsiteY458" fmla="*/ 820809 h 10394676"/>
              <a:gd name="connsiteX459" fmla="*/ 7325168 w 10375356"/>
              <a:gd name="connsiteY459" fmla="*/ 820809 h 10394676"/>
              <a:gd name="connsiteX460" fmla="*/ 7325168 w 10375356"/>
              <a:gd name="connsiteY460" fmla="*/ 1331633 h 10394676"/>
              <a:gd name="connsiteX461" fmla="*/ 7223258 w 10375356"/>
              <a:gd name="connsiteY461" fmla="*/ 1331633 h 10394676"/>
              <a:gd name="connsiteX462" fmla="*/ 3918899 w 10375356"/>
              <a:gd name="connsiteY462" fmla="*/ 820809 h 10394676"/>
              <a:gd name="connsiteX463" fmla="*/ 4020808 w 10375356"/>
              <a:gd name="connsiteY463" fmla="*/ 820809 h 10394676"/>
              <a:gd name="connsiteX464" fmla="*/ 4020808 w 10375356"/>
              <a:gd name="connsiteY464" fmla="*/ 1331633 h 10394676"/>
              <a:gd name="connsiteX465" fmla="*/ 3918899 w 10375356"/>
              <a:gd name="connsiteY465" fmla="*/ 1331633 h 10394676"/>
              <a:gd name="connsiteX466" fmla="*/ 6451292 w 10375356"/>
              <a:gd name="connsiteY466" fmla="*/ 810617 h 10394676"/>
              <a:gd name="connsiteX467" fmla="*/ 6716257 w 10375356"/>
              <a:gd name="connsiteY467" fmla="*/ 1075585 h 10394676"/>
              <a:gd name="connsiteX468" fmla="*/ 6451292 w 10375356"/>
              <a:gd name="connsiteY468" fmla="*/ 1340549 h 10394676"/>
              <a:gd name="connsiteX469" fmla="*/ 6186326 w 10375356"/>
              <a:gd name="connsiteY469" fmla="*/ 1075585 h 10394676"/>
              <a:gd name="connsiteX470" fmla="*/ 6451292 w 10375356"/>
              <a:gd name="connsiteY470" fmla="*/ 810617 h 10394676"/>
              <a:gd name="connsiteX471" fmla="*/ 6399063 w 10375356"/>
              <a:gd name="connsiteY471" fmla="*/ 125503 h 10394676"/>
              <a:gd name="connsiteX472" fmla="*/ 6500973 w 10375356"/>
              <a:gd name="connsiteY472" fmla="*/ 149024 h 10394676"/>
              <a:gd name="connsiteX473" fmla="*/ 6500973 w 10375356"/>
              <a:gd name="connsiteY473" fmla="*/ 508711 h 10394676"/>
              <a:gd name="connsiteX474" fmla="*/ 6399063 w 10375356"/>
              <a:gd name="connsiteY474" fmla="*/ 508711 h 10394676"/>
              <a:gd name="connsiteX475" fmla="*/ 4743094 w 10375356"/>
              <a:gd name="connsiteY475" fmla="*/ 101073 h 10394676"/>
              <a:gd name="connsiteX476" fmla="*/ 4845004 w 10375356"/>
              <a:gd name="connsiteY476" fmla="*/ 101073 h 10394676"/>
              <a:gd name="connsiteX477" fmla="*/ 4845004 w 10375356"/>
              <a:gd name="connsiteY477" fmla="*/ 508711 h 10394676"/>
              <a:gd name="connsiteX478" fmla="*/ 4743094 w 10375356"/>
              <a:gd name="connsiteY478" fmla="*/ 508711 h 10394676"/>
              <a:gd name="connsiteX479" fmla="*/ 4174642 w 10375356"/>
              <a:gd name="connsiteY479" fmla="*/ 91020 h 10394676"/>
              <a:gd name="connsiteX480" fmla="*/ 4214021 w 10375356"/>
              <a:gd name="connsiteY480" fmla="*/ 149458 h 10394676"/>
              <a:gd name="connsiteX481" fmla="*/ 4234820 w 10375356"/>
              <a:gd name="connsiteY481" fmla="*/ 252661 h 10394676"/>
              <a:gd name="connsiteX482" fmla="*/ 3969854 w 10375356"/>
              <a:gd name="connsiteY482" fmla="*/ 517629 h 10394676"/>
              <a:gd name="connsiteX483" fmla="*/ 3704889 w 10375356"/>
              <a:gd name="connsiteY483" fmla="*/ 252661 h 10394676"/>
              <a:gd name="connsiteX484" fmla="*/ 3714113 w 10375356"/>
              <a:gd name="connsiteY484" fmla="*/ 206895 h 10394676"/>
              <a:gd name="connsiteX485" fmla="*/ 3829928 w 10375356"/>
              <a:gd name="connsiteY485" fmla="*/ 174007 h 10394676"/>
              <a:gd name="connsiteX486" fmla="*/ 3819737 w 10375356"/>
              <a:gd name="connsiteY486" fmla="*/ 189028 h 10394676"/>
              <a:gd name="connsiteX487" fmla="*/ 3806799 w 10375356"/>
              <a:gd name="connsiteY487" fmla="*/ 252661 h 10394676"/>
              <a:gd name="connsiteX488" fmla="*/ 3969854 w 10375356"/>
              <a:gd name="connsiteY488" fmla="*/ 415717 h 10394676"/>
              <a:gd name="connsiteX489" fmla="*/ 4132911 w 10375356"/>
              <a:gd name="connsiteY489" fmla="*/ 252661 h 10394676"/>
              <a:gd name="connsiteX490" fmla="*/ 4085300 w 10375356"/>
              <a:gd name="connsiteY490" fmla="*/ 137218 h 10394676"/>
              <a:gd name="connsiteX491" fmla="*/ 4056168 w 10375356"/>
              <a:gd name="connsiteY491" fmla="*/ 117622 h 10394676"/>
              <a:gd name="connsiteX492" fmla="*/ 4160436 w 10375356"/>
              <a:gd name="connsiteY492" fmla="*/ 93557 h 10394676"/>
              <a:gd name="connsiteX493" fmla="*/ 5625822 w 10375356"/>
              <a:gd name="connsiteY493" fmla="*/ 89607 h 10394676"/>
              <a:gd name="connsiteX494" fmla="*/ 5462766 w 10375356"/>
              <a:gd name="connsiteY494" fmla="*/ 252661 h 10394676"/>
              <a:gd name="connsiteX495" fmla="*/ 5625822 w 10375356"/>
              <a:gd name="connsiteY495" fmla="*/ 415717 h 10394676"/>
              <a:gd name="connsiteX496" fmla="*/ 5788878 w 10375356"/>
              <a:gd name="connsiteY496" fmla="*/ 252661 h 10394676"/>
              <a:gd name="connsiteX497" fmla="*/ 5625822 w 10375356"/>
              <a:gd name="connsiteY497" fmla="*/ 89607 h 10394676"/>
              <a:gd name="connsiteX498" fmla="*/ 5551305 w 10375356"/>
              <a:gd name="connsiteY498" fmla="*/ 0 h 10394676"/>
              <a:gd name="connsiteX499" fmla="*/ 5741268 w 10375356"/>
              <a:gd name="connsiteY499" fmla="*/ 14445 h 10394676"/>
              <a:gd name="connsiteX500" fmla="*/ 5775311 w 10375356"/>
              <a:gd name="connsiteY500" fmla="*/ 32907 h 10394676"/>
              <a:gd name="connsiteX501" fmla="*/ 5892062 w 10375356"/>
              <a:gd name="connsiteY501" fmla="*/ 252661 h 10394676"/>
              <a:gd name="connsiteX502" fmla="*/ 5627096 w 10375356"/>
              <a:gd name="connsiteY502" fmla="*/ 517629 h 10394676"/>
              <a:gd name="connsiteX503" fmla="*/ 5362131 w 10375356"/>
              <a:gd name="connsiteY503" fmla="*/ 252661 h 10394676"/>
              <a:gd name="connsiteX504" fmla="*/ 5523893 w 10375356"/>
              <a:gd name="connsiteY504" fmla="*/ 8497 h 10394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</a:cxnLst>
            <a:rect l="l" t="t" r="r" b="b"/>
            <a:pathLst>
              <a:path w="10375356" h="10394676">
                <a:moveTo>
                  <a:pt x="6202887" y="10086957"/>
                </a:moveTo>
                <a:lnTo>
                  <a:pt x="6713710" y="10086957"/>
                </a:lnTo>
                <a:lnTo>
                  <a:pt x="6713710" y="10187665"/>
                </a:lnTo>
                <a:lnTo>
                  <a:pt x="6709472" y="10188869"/>
                </a:lnTo>
                <a:lnTo>
                  <a:pt x="6202887" y="10188869"/>
                </a:lnTo>
                <a:close/>
                <a:moveTo>
                  <a:pt x="5634740" y="9974857"/>
                </a:moveTo>
                <a:cubicBezTo>
                  <a:pt x="5544295" y="9974857"/>
                  <a:pt x="5471684" y="10047469"/>
                  <a:pt x="5471684" y="10137913"/>
                </a:cubicBezTo>
                <a:cubicBezTo>
                  <a:pt x="5471684" y="10228357"/>
                  <a:pt x="5544295" y="10300969"/>
                  <a:pt x="5634740" y="10300969"/>
                </a:cubicBezTo>
                <a:cubicBezTo>
                  <a:pt x="5725185" y="10299693"/>
                  <a:pt x="5797795" y="10227083"/>
                  <a:pt x="5797795" y="10137913"/>
                </a:cubicBezTo>
                <a:cubicBezTo>
                  <a:pt x="5797795" y="10047469"/>
                  <a:pt x="5725185" y="9974857"/>
                  <a:pt x="5634740" y="9974857"/>
                </a:cubicBezTo>
                <a:close/>
                <a:moveTo>
                  <a:pt x="7232175" y="9881865"/>
                </a:moveTo>
                <a:lnTo>
                  <a:pt x="7334085" y="9881865"/>
                </a:lnTo>
                <a:lnTo>
                  <a:pt x="7334085" y="9956193"/>
                </a:lnTo>
                <a:lnTo>
                  <a:pt x="7238719" y="9999307"/>
                </a:lnTo>
                <a:lnTo>
                  <a:pt x="7232175" y="10001887"/>
                </a:lnTo>
                <a:close/>
                <a:moveTo>
                  <a:pt x="4751991" y="9881865"/>
                </a:moveTo>
                <a:lnTo>
                  <a:pt x="4853901" y="9881865"/>
                </a:lnTo>
                <a:lnTo>
                  <a:pt x="4853901" y="10290777"/>
                </a:lnTo>
                <a:lnTo>
                  <a:pt x="4751991" y="10290777"/>
                </a:lnTo>
                <a:close/>
                <a:moveTo>
                  <a:pt x="5636013" y="9872947"/>
                </a:moveTo>
                <a:cubicBezTo>
                  <a:pt x="5782509" y="9872947"/>
                  <a:pt x="5900978" y="9991417"/>
                  <a:pt x="5900978" y="10137913"/>
                </a:cubicBezTo>
                <a:cubicBezTo>
                  <a:pt x="5900978" y="10247785"/>
                  <a:pt x="5834339" y="10341891"/>
                  <a:pt x="5739217" y="10382077"/>
                </a:cubicBezTo>
                <a:lnTo>
                  <a:pt x="5738756" y="10382220"/>
                </a:lnTo>
                <a:lnTo>
                  <a:pt x="5574951" y="10394676"/>
                </a:lnTo>
                <a:lnTo>
                  <a:pt x="5532810" y="10381361"/>
                </a:lnTo>
                <a:cubicBezTo>
                  <a:pt x="5437688" y="10340697"/>
                  <a:pt x="5371048" y="10246828"/>
                  <a:pt x="5371048" y="10137913"/>
                </a:cubicBezTo>
                <a:cubicBezTo>
                  <a:pt x="5371048" y="9991417"/>
                  <a:pt x="5489518" y="9872947"/>
                  <a:pt x="5636013" y="9872947"/>
                </a:cubicBezTo>
                <a:close/>
                <a:moveTo>
                  <a:pt x="3978752" y="9872947"/>
                </a:moveTo>
                <a:cubicBezTo>
                  <a:pt x="4125249" y="9872947"/>
                  <a:pt x="4243718" y="9991417"/>
                  <a:pt x="4243718" y="10137913"/>
                </a:cubicBezTo>
                <a:cubicBezTo>
                  <a:pt x="4243718" y="10174537"/>
                  <a:pt x="4236314" y="10209409"/>
                  <a:pt x="4222918" y="10241117"/>
                </a:cubicBezTo>
                <a:lnTo>
                  <a:pt x="4179036" y="10306239"/>
                </a:lnTo>
                <a:lnTo>
                  <a:pt x="4160436" y="10302917"/>
                </a:lnTo>
                <a:lnTo>
                  <a:pt x="4056265" y="10278875"/>
                </a:lnTo>
                <a:lnTo>
                  <a:pt x="4094199" y="10253357"/>
                </a:lnTo>
                <a:cubicBezTo>
                  <a:pt x="4123657" y="10223899"/>
                  <a:pt x="4141809" y="10183135"/>
                  <a:pt x="4141809" y="10137913"/>
                </a:cubicBezTo>
                <a:cubicBezTo>
                  <a:pt x="4141809" y="10047469"/>
                  <a:pt x="4069199" y="9974857"/>
                  <a:pt x="3978752" y="9974857"/>
                </a:cubicBezTo>
                <a:cubicBezTo>
                  <a:pt x="3889581" y="9974857"/>
                  <a:pt x="3815698" y="10047469"/>
                  <a:pt x="3815698" y="10137913"/>
                </a:cubicBezTo>
                <a:cubicBezTo>
                  <a:pt x="3815698" y="10160524"/>
                  <a:pt x="3820237" y="10182021"/>
                  <a:pt x="3828457" y="10201547"/>
                </a:cubicBezTo>
                <a:lnTo>
                  <a:pt x="3845505" y="10226891"/>
                </a:lnTo>
                <a:lnTo>
                  <a:pt x="3724813" y="10192618"/>
                </a:lnTo>
                <a:lnTo>
                  <a:pt x="3713787" y="10137913"/>
                </a:lnTo>
                <a:cubicBezTo>
                  <a:pt x="3713787" y="9991417"/>
                  <a:pt x="3832257" y="9872947"/>
                  <a:pt x="3978752" y="9872947"/>
                </a:cubicBezTo>
                <a:close/>
                <a:moveTo>
                  <a:pt x="3155832" y="9872947"/>
                </a:moveTo>
                <a:cubicBezTo>
                  <a:pt x="3265704" y="9872947"/>
                  <a:pt x="3359812" y="9939586"/>
                  <a:pt x="3399999" y="10034709"/>
                </a:cubicBezTo>
                <a:lnTo>
                  <a:pt x="3411035" y="10089469"/>
                </a:lnTo>
                <a:lnTo>
                  <a:pt x="3280434" y="10037975"/>
                </a:lnTo>
                <a:lnTo>
                  <a:pt x="3270003" y="10022469"/>
                </a:lnTo>
                <a:cubicBezTo>
                  <a:pt x="3240545" y="9993010"/>
                  <a:pt x="3199781" y="9974857"/>
                  <a:pt x="3154558" y="9974857"/>
                </a:cubicBezTo>
                <a:lnTo>
                  <a:pt x="3136355" y="9978507"/>
                </a:lnTo>
                <a:lnTo>
                  <a:pt x="3005935" y="9919545"/>
                </a:lnTo>
                <a:lnTo>
                  <a:pt x="3007618" y="9918157"/>
                </a:lnTo>
                <a:cubicBezTo>
                  <a:pt x="3049902" y="9889607"/>
                  <a:pt x="3100897" y="9872947"/>
                  <a:pt x="3155832" y="9872947"/>
                </a:cubicBezTo>
                <a:close/>
                <a:moveTo>
                  <a:pt x="7851277" y="9262761"/>
                </a:moveTo>
                <a:lnTo>
                  <a:pt x="8362099" y="9262761"/>
                </a:lnTo>
                <a:lnTo>
                  <a:pt x="8362099" y="9346902"/>
                </a:lnTo>
                <a:lnTo>
                  <a:pt x="8339488" y="9364671"/>
                </a:lnTo>
                <a:lnTo>
                  <a:pt x="7851277" y="9364671"/>
                </a:lnTo>
                <a:close/>
                <a:moveTo>
                  <a:pt x="5379965" y="9262761"/>
                </a:moveTo>
                <a:lnTo>
                  <a:pt x="5890787" y="9262761"/>
                </a:lnTo>
                <a:lnTo>
                  <a:pt x="5890787" y="9364671"/>
                </a:lnTo>
                <a:lnTo>
                  <a:pt x="5379965" y="9364671"/>
                </a:lnTo>
                <a:close/>
                <a:moveTo>
                  <a:pt x="4546902" y="9262761"/>
                </a:moveTo>
                <a:lnTo>
                  <a:pt x="5057725" y="9262761"/>
                </a:lnTo>
                <a:lnTo>
                  <a:pt x="5057725" y="9364671"/>
                </a:lnTo>
                <a:lnTo>
                  <a:pt x="4546902" y="9364671"/>
                </a:lnTo>
                <a:close/>
                <a:moveTo>
                  <a:pt x="2899787" y="9262761"/>
                </a:moveTo>
                <a:lnTo>
                  <a:pt x="3410609" y="9262761"/>
                </a:lnTo>
                <a:lnTo>
                  <a:pt x="3410609" y="9364671"/>
                </a:lnTo>
                <a:lnTo>
                  <a:pt x="2899787" y="9364671"/>
                </a:lnTo>
                <a:close/>
                <a:moveTo>
                  <a:pt x="6450017" y="9150661"/>
                </a:moveTo>
                <a:cubicBezTo>
                  <a:pt x="6359572" y="9150661"/>
                  <a:pt x="6286962" y="9223273"/>
                  <a:pt x="6286962" y="9313717"/>
                </a:cubicBezTo>
                <a:cubicBezTo>
                  <a:pt x="6286962" y="9404161"/>
                  <a:pt x="6359572" y="9476773"/>
                  <a:pt x="6450017" y="9476773"/>
                </a:cubicBezTo>
                <a:cubicBezTo>
                  <a:pt x="6540463" y="9476773"/>
                  <a:pt x="6613073" y="9404161"/>
                  <a:pt x="6613073" y="9313717"/>
                </a:cubicBezTo>
                <a:cubicBezTo>
                  <a:pt x="6613073" y="9223273"/>
                  <a:pt x="6540463" y="9150661"/>
                  <a:pt x="6450017" y="9150661"/>
                </a:cubicBezTo>
                <a:close/>
                <a:moveTo>
                  <a:pt x="3978754" y="9150661"/>
                </a:moveTo>
                <a:cubicBezTo>
                  <a:pt x="3889583" y="9150661"/>
                  <a:pt x="3815700" y="9223273"/>
                  <a:pt x="3815700" y="9313717"/>
                </a:cubicBezTo>
                <a:cubicBezTo>
                  <a:pt x="3815700" y="9404161"/>
                  <a:pt x="3888310" y="9476773"/>
                  <a:pt x="3978754" y="9476773"/>
                </a:cubicBezTo>
                <a:cubicBezTo>
                  <a:pt x="4069201" y="9476773"/>
                  <a:pt x="4141811" y="9404161"/>
                  <a:pt x="4141811" y="9313717"/>
                </a:cubicBezTo>
                <a:cubicBezTo>
                  <a:pt x="4141811" y="9223273"/>
                  <a:pt x="4069201" y="9150661"/>
                  <a:pt x="3978754" y="9150661"/>
                </a:cubicBezTo>
                <a:close/>
                <a:moveTo>
                  <a:pt x="7232175" y="9057669"/>
                </a:moveTo>
                <a:lnTo>
                  <a:pt x="7334085" y="9057669"/>
                </a:lnTo>
                <a:lnTo>
                  <a:pt x="7334085" y="9568493"/>
                </a:lnTo>
                <a:lnTo>
                  <a:pt x="7232175" y="9568493"/>
                </a:lnTo>
                <a:close/>
                <a:moveTo>
                  <a:pt x="2280685" y="9057669"/>
                </a:moveTo>
                <a:lnTo>
                  <a:pt x="2382595" y="9057669"/>
                </a:lnTo>
                <a:lnTo>
                  <a:pt x="2382595" y="9568493"/>
                </a:lnTo>
                <a:lnTo>
                  <a:pt x="2374638" y="9568493"/>
                </a:lnTo>
                <a:lnTo>
                  <a:pt x="2297278" y="9518899"/>
                </a:lnTo>
                <a:lnTo>
                  <a:pt x="2280685" y="9507099"/>
                </a:lnTo>
                <a:close/>
                <a:moveTo>
                  <a:pt x="6450017" y="9048751"/>
                </a:moveTo>
                <a:cubicBezTo>
                  <a:pt x="6596513" y="9048751"/>
                  <a:pt x="6714982" y="9167221"/>
                  <a:pt x="6714982" y="9313717"/>
                </a:cubicBezTo>
                <a:cubicBezTo>
                  <a:pt x="6714982" y="9460213"/>
                  <a:pt x="6596513" y="9578681"/>
                  <a:pt x="6450017" y="9578681"/>
                </a:cubicBezTo>
                <a:cubicBezTo>
                  <a:pt x="6303522" y="9578681"/>
                  <a:pt x="6185052" y="9460213"/>
                  <a:pt x="6185052" y="9313717"/>
                </a:cubicBezTo>
                <a:cubicBezTo>
                  <a:pt x="6185052" y="9167221"/>
                  <a:pt x="6303522" y="9048751"/>
                  <a:pt x="6450017" y="9048751"/>
                </a:cubicBezTo>
                <a:close/>
                <a:moveTo>
                  <a:pt x="3978754" y="9048751"/>
                </a:moveTo>
                <a:cubicBezTo>
                  <a:pt x="4125250" y="9048751"/>
                  <a:pt x="4243720" y="9167221"/>
                  <a:pt x="4243720" y="9313717"/>
                </a:cubicBezTo>
                <a:cubicBezTo>
                  <a:pt x="4243720" y="9460213"/>
                  <a:pt x="4125250" y="9578681"/>
                  <a:pt x="3978754" y="9578681"/>
                </a:cubicBezTo>
                <a:cubicBezTo>
                  <a:pt x="3832260" y="9578681"/>
                  <a:pt x="3713789" y="9460213"/>
                  <a:pt x="3713789" y="9313717"/>
                </a:cubicBezTo>
                <a:cubicBezTo>
                  <a:pt x="3713789" y="9167221"/>
                  <a:pt x="3832260" y="9048751"/>
                  <a:pt x="3978754" y="9048751"/>
                </a:cubicBezTo>
                <a:close/>
                <a:moveTo>
                  <a:pt x="5676776" y="8665264"/>
                </a:moveTo>
                <a:lnTo>
                  <a:pt x="5676776" y="8745569"/>
                </a:lnTo>
                <a:lnTo>
                  <a:pt x="5574867" y="8745569"/>
                </a:lnTo>
                <a:lnTo>
                  <a:pt x="5574867" y="8678214"/>
                </a:lnTo>
                <a:close/>
                <a:moveTo>
                  <a:pt x="3918880" y="8449859"/>
                </a:moveTo>
                <a:lnTo>
                  <a:pt x="4007509" y="8484804"/>
                </a:lnTo>
                <a:lnTo>
                  <a:pt x="4020789" y="8489298"/>
                </a:lnTo>
                <a:lnTo>
                  <a:pt x="4020789" y="8745569"/>
                </a:lnTo>
                <a:lnTo>
                  <a:pt x="3918880" y="8745569"/>
                </a:lnTo>
                <a:close/>
                <a:moveTo>
                  <a:pt x="7018165" y="8438567"/>
                </a:moveTo>
                <a:lnTo>
                  <a:pt x="7528988" y="8438567"/>
                </a:lnTo>
                <a:lnTo>
                  <a:pt x="7528988" y="8540477"/>
                </a:lnTo>
                <a:lnTo>
                  <a:pt x="7018165" y="8540477"/>
                </a:lnTo>
                <a:close/>
                <a:moveTo>
                  <a:pt x="6530840" y="8438567"/>
                </a:moveTo>
                <a:lnTo>
                  <a:pt x="6697148" y="8438567"/>
                </a:lnTo>
                <a:lnTo>
                  <a:pt x="6697148" y="8540477"/>
                </a:lnTo>
                <a:lnTo>
                  <a:pt x="6248661" y="8540477"/>
                </a:lnTo>
                <a:lnTo>
                  <a:pt x="6251001" y="8539813"/>
                </a:lnTo>
                <a:cubicBezTo>
                  <a:pt x="6305781" y="8522774"/>
                  <a:pt x="6359984" y="8504426"/>
                  <a:pt x="6413573" y="8484804"/>
                </a:cubicBezTo>
                <a:close/>
                <a:moveTo>
                  <a:pt x="2066673" y="8438567"/>
                </a:moveTo>
                <a:lnTo>
                  <a:pt x="2577496" y="8438567"/>
                </a:lnTo>
                <a:lnTo>
                  <a:pt x="2577496" y="8540477"/>
                </a:lnTo>
                <a:lnTo>
                  <a:pt x="2066673" y="8540477"/>
                </a:lnTo>
                <a:close/>
                <a:moveTo>
                  <a:pt x="1234837" y="8438567"/>
                </a:moveTo>
                <a:lnTo>
                  <a:pt x="1745660" y="8438567"/>
                </a:lnTo>
                <a:lnTo>
                  <a:pt x="1745660" y="8540477"/>
                </a:lnTo>
                <a:lnTo>
                  <a:pt x="1234837" y="8540477"/>
                </a:lnTo>
                <a:close/>
                <a:moveTo>
                  <a:pt x="8870376" y="8234747"/>
                </a:moveTo>
                <a:lnTo>
                  <a:pt x="8972285" y="8234747"/>
                </a:lnTo>
                <a:lnTo>
                  <a:pt x="8972285" y="8745569"/>
                </a:lnTo>
                <a:lnTo>
                  <a:pt x="8870376" y="8745569"/>
                </a:lnTo>
                <a:close/>
                <a:moveTo>
                  <a:pt x="8046180" y="8234747"/>
                </a:moveTo>
                <a:lnTo>
                  <a:pt x="8148089" y="8234747"/>
                </a:lnTo>
                <a:lnTo>
                  <a:pt x="8148089" y="8745569"/>
                </a:lnTo>
                <a:lnTo>
                  <a:pt x="8046180" y="8745569"/>
                </a:lnTo>
                <a:close/>
                <a:moveTo>
                  <a:pt x="3094685" y="8234747"/>
                </a:moveTo>
                <a:lnTo>
                  <a:pt x="3196595" y="8234747"/>
                </a:lnTo>
                <a:lnTo>
                  <a:pt x="3196595" y="8745569"/>
                </a:lnTo>
                <a:lnTo>
                  <a:pt x="3094685" y="8745569"/>
                </a:lnTo>
                <a:close/>
                <a:moveTo>
                  <a:pt x="9489477" y="7615645"/>
                </a:moveTo>
                <a:lnTo>
                  <a:pt x="9824110" y="7615645"/>
                </a:lnTo>
                <a:lnTo>
                  <a:pt x="9792198" y="7681890"/>
                </a:lnTo>
                <a:lnTo>
                  <a:pt x="9770531" y="7717555"/>
                </a:lnTo>
                <a:lnTo>
                  <a:pt x="9489477" y="7717555"/>
                </a:lnTo>
                <a:close/>
                <a:moveTo>
                  <a:pt x="8666557" y="7615645"/>
                </a:moveTo>
                <a:lnTo>
                  <a:pt x="9177379" y="7615645"/>
                </a:lnTo>
                <a:lnTo>
                  <a:pt x="9177379" y="7717555"/>
                </a:lnTo>
                <a:lnTo>
                  <a:pt x="8666557" y="7717555"/>
                </a:lnTo>
                <a:close/>
                <a:moveTo>
                  <a:pt x="2322721" y="7503545"/>
                </a:moveTo>
                <a:cubicBezTo>
                  <a:pt x="2232276" y="7503545"/>
                  <a:pt x="2159665" y="7576155"/>
                  <a:pt x="2159665" y="7666599"/>
                </a:cubicBezTo>
                <a:cubicBezTo>
                  <a:pt x="2159665" y="7757045"/>
                  <a:pt x="2232276" y="7829655"/>
                  <a:pt x="2322721" y="7829655"/>
                </a:cubicBezTo>
                <a:cubicBezTo>
                  <a:pt x="2411891" y="7828381"/>
                  <a:pt x="2485776" y="7755769"/>
                  <a:pt x="2485776" y="7666599"/>
                </a:cubicBezTo>
                <a:cubicBezTo>
                  <a:pt x="2485776" y="7576155"/>
                  <a:pt x="2413167" y="7503545"/>
                  <a:pt x="2322721" y="7503545"/>
                </a:cubicBezTo>
                <a:close/>
                <a:moveTo>
                  <a:pt x="8046180" y="7410553"/>
                </a:moveTo>
                <a:lnTo>
                  <a:pt x="8148089" y="7410553"/>
                </a:lnTo>
                <a:lnTo>
                  <a:pt x="8148089" y="7921375"/>
                </a:lnTo>
                <a:lnTo>
                  <a:pt x="8046180" y="7921375"/>
                </a:lnTo>
                <a:close/>
                <a:moveTo>
                  <a:pt x="1447573" y="7410553"/>
                </a:moveTo>
                <a:lnTo>
                  <a:pt x="1549483" y="7410553"/>
                </a:lnTo>
                <a:lnTo>
                  <a:pt x="1549483" y="7921375"/>
                </a:lnTo>
                <a:lnTo>
                  <a:pt x="1447573" y="7921375"/>
                </a:lnTo>
                <a:close/>
                <a:moveTo>
                  <a:pt x="2322721" y="7401633"/>
                </a:moveTo>
                <a:cubicBezTo>
                  <a:pt x="2469216" y="7401633"/>
                  <a:pt x="2587686" y="7520105"/>
                  <a:pt x="2587686" y="7666599"/>
                </a:cubicBezTo>
                <a:cubicBezTo>
                  <a:pt x="2587686" y="7813095"/>
                  <a:pt x="2469216" y="7931565"/>
                  <a:pt x="2322721" y="7931565"/>
                </a:cubicBezTo>
                <a:cubicBezTo>
                  <a:pt x="2176225" y="7930291"/>
                  <a:pt x="2057755" y="7811821"/>
                  <a:pt x="2057755" y="7666599"/>
                </a:cubicBezTo>
                <a:cubicBezTo>
                  <a:pt x="2057755" y="7520105"/>
                  <a:pt x="2176225" y="7401633"/>
                  <a:pt x="2322721" y="7401633"/>
                </a:cubicBezTo>
                <a:close/>
                <a:moveTo>
                  <a:pt x="674333" y="7401633"/>
                </a:moveTo>
                <a:cubicBezTo>
                  <a:pt x="820829" y="7401633"/>
                  <a:pt x="939299" y="7520105"/>
                  <a:pt x="939299" y="7666599"/>
                </a:cubicBezTo>
                <a:cubicBezTo>
                  <a:pt x="939299" y="7776471"/>
                  <a:pt x="872660" y="7870579"/>
                  <a:pt x="777537" y="7910765"/>
                </a:cubicBezTo>
                <a:lnTo>
                  <a:pt x="769452" y="7913271"/>
                </a:lnTo>
                <a:lnTo>
                  <a:pt x="713980" y="7821961"/>
                </a:lnTo>
                <a:lnTo>
                  <a:pt x="739241" y="7816897"/>
                </a:lnTo>
                <a:cubicBezTo>
                  <a:pt x="797819" y="7792235"/>
                  <a:pt x="838662" y="7734434"/>
                  <a:pt x="838662" y="7666599"/>
                </a:cubicBezTo>
                <a:cubicBezTo>
                  <a:pt x="838662" y="7576155"/>
                  <a:pt x="766051" y="7503545"/>
                  <a:pt x="675607" y="7503545"/>
                </a:cubicBezTo>
                <a:cubicBezTo>
                  <a:pt x="652996" y="7503545"/>
                  <a:pt x="631500" y="7508083"/>
                  <a:pt x="611973" y="7516304"/>
                </a:cubicBezTo>
                <a:lnTo>
                  <a:pt x="564501" y="7548238"/>
                </a:lnTo>
                <a:lnTo>
                  <a:pt x="518632" y="7453019"/>
                </a:lnTo>
                <a:lnTo>
                  <a:pt x="526119" y="7446844"/>
                </a:lnTo>
                <a:cubicBezTo>
                  <a:pt x="568403" y="7418293"/>
                  <a:pt x="619397" y="7401633"/>
                  <a:pt x="674333" y="7401633"/>
                </a:cubicBezTo>
                <a:close/>
                <a:moveTo>
                  <a:pt x="8148089" y="7094869"/>
                </a:moveTo>
                <a:lnTo>
                  <a:pt x="8148089" y="7097179"/>
                </a:lnTo>
                <a:lnTo>
                  <a:pt x="8146686" y="7097179"/>
                </a:lnTo>
                <a:close/>
                <a:moveTo>
                  <a:pt x="8665281" y="6791449"/>
                </a:moveTo>
                <a:lnTo>
                  <a:pt x="9176104" y="6791449"/>
                </a:lnTo>
                <a:lnTo>
                  <a:pt x="9176104" y="6893357"/>
                </a:lnTo>
                <a:lnTo>
                  <a:pt x="8665281" y="6893357"/>
                </a:lnTo>
                <a:close/>
                <a:moveTo>
                  <a:pt x="2066681" y="6791449"/>
                </a:moveTo>
                <a:lnTo>
                  <a:pt x="2098040" y="6791449"/>
                </a:lnTo>
                <a:lnTo>
                  <a:pt x="2133958" y="6866010"/>
                </a:lnTo>
                <a:lnTo>
                  <a:pt x="2150572" y="6893357"/>
                </a:lnTo>
                <a:lnTo>
                  <a:pt x="2066681" y="6893357"/>
                </a:lnTo>
                <a:close/>
                <a:moveTo>
                  <a:pt x="419562" y="6791449"/>
                </a:moveTo>
                <a:lnTo>
                  <a:pt x="930385" y="6791449"/>
                </a:lnTo>
                <a:lnTo>
                  <a:pt x="930385" y="6893357"/>
                </a:lnTo>
                <a:lnTo>
                  <a:pt x="419562" y="6893357"/>
                </a:lnTo>
                <a:close/>
                <a:moveTo>
                  <a:pt x="9745526" y="6679349"/>
                </a:moveTo>
                <a:cubicBezTo>
                  <a:pt x="9655081" y="6679349"/>
                  <a:pt x="9582469" y="6751961"/>
                  <a:pt x="9582469" y="6842405"/>
                </a:cubicBezTo>
                <a:cubicBezTo>
                  <a:pt x="9582469" y="6932849"/>
                  <a:pt x="9655081" y="7005461"/>
                  <a:pt x="9745526" y="7005461"/>
                </a:cubicBezTo>
                <a:cubicBezTo>
                  <a:pt x="9835970" y="7005461"/>
                  <a:pt x="9908582" y="6932849"/>
                  <a:pt x="9908582" y="6842405"/>
                </a:cubicBezTo>
                <a:cubicBezTo>
                  <a:pt x="9908582" y="6751961"/>
                  <a:pt x="9835970" y="6679349"/>
                  <a:pt x="9745526" y="6679349"/>
                </a:cubicBezTo>
                <a:close/>
                <a:moveTo>
                  <a:pt x="1498533" y="6679349"/>
                </a:moveTo>
                <a:cubicBezTo>
                  <a:pt x="1408088" y="6679349"/>
                  <a:pt x="1335477" y="6751961"/>
                  <a:pt x="1335477" y="6842405"/>
                </a:cubicBezTo>
                <a:cubicBezTo>
                  <a:pt x="1335477" y="6932849"/>
                  <a:pt x="1408088" y="7005461"/>
                  <a:pt x="1498533" y="7005461"/>
                </a:cubicBezTo>
                <a:cubicBezTo>
                  <a:pt x="1588977" y="7005461"/>
                  <a:pt x="1661588" y="6932849"/>
                  <a:pt x="1661588" y="6842405"/>
                </a:cubicBezTo>
                <a:cubicBezTo>
                  <a:pt x="1661588" y="6751961"/>
                  <a:pt x="1588977" y="6679349"/>
                  <a:pt x="1498533" y="6679349"/>
                </a:cubicBezTo>
                <a:close/>
                <a:moveTo>
                  <a:pt x="9744252" y="6577439"/>
                </a:moveTo>
                <a:cubicBezTo>
                  <a:pt x="9890747" y="6577439"/>
                  <a:pt x="10009217" y="6695909"/>
                  <a:pt x="10009217" y="6842405"/>
                </a:cubicBezTo>
                <a:cubicBezTo>
                  <a:pt x="10009217" y="6988901"/>
                  <a:pt x="9890747" y="7107369"/>
                  <a:pt x="9744252" y="7107369"/>
                </a:cubicBezTo>
                <a:cubicBezTo>
                  <a:pt x="9597757" y="7107369"/>
                  <a:pt x="9479286" y="6988901"/>
                  <a:pt x="9479286" y="6842405"/>
                </a:cubicBezTo>
                <a:cubicBezTo>
                  <a:pt x="9479286" y="6695909"/>
                  <a:pt x="9597757" y="6577439"/>
                  <a:pt x="9744252" y="6577439"/>
                </a:cubicBezTo>
                <a:close/>
                <a:moveTo>
                  <a:pt x="1499807" y="6577439"/>
                </a:moveTo>
                <a:cubicBezTo>
                  <a:pt x="1646302" y="6577439"/>
                  <a:pt x="1764771" y="6695909"/>
                  <a:pt x="1764771" y="6842405"/>
                </a:cubicBezTo>
                <a:cubicBezTo>
                  <a:pt x="1764771" y="6988901"/>
                  <a:pt x="1646302" y="7107369"/>
                  <a:pt x="1499807" y="7107369"/>
                </a:cubicBezTo>
                <a:cubicBezTo>
                  <a:pt x="1353311" y="7107369"/>
                  <a:pt x="1234841" y="6988901"/>
                  <a:pt x="1234841" y="6842405"/>
                </a:cubicBezTo>
                <a:cubicBezTo>
                  <a:pt x="1234841" y="6695909"/>
                  <a:pt x="1353311" y="6577439"/>
                  <a:pt x="1499807" y="6577439"/>
                </a:cubicBezTo>
                <a:close/>
                <a:moveTo>
                  <a:pt x="8921331" y="5855153"/>
                </a:moveTo>
                <a:cubicBezTo>
                  <a:pt x="8830884" y="5855153"/>
                  <a:pt x="8758274" y="5927763"/>
                  <a:pt x="8758274" y="6018209"/>
                </a:cubicBezTo>
                <a:cubicBezTo>
                  <a:pt x="8758274" y="6108653"/>
                  <a:pt x="8830884" y="6181265"/>
                  <a:pt x="8921331" y="6181265"/>
                </a:cubicBezTo>
                <a:cubicBezTo>
                  <a:pt x="9011775" y="6181265"/>
                  <a:pt x="9084385" y="6108653"/>
                  <a:pt x="9084385" y="6018209"/>
                </a:cubicBezTo>
                <a:cubicBezTo>
                  <a:pt x="9084385" y="5927763"/>
                  <a:pt x="9011775" y="5855153"/>
                  <a:pt x="8921331" y="5855153"/>
                </a:cubicBezTo>
                <a:close/>
                <a:moveTo>
                  <a:pt x="674337" y="5855153"/>
                </a:moveTo>
                <a:cubicBezTo>
                  <a:pt x="583892" y="5855153"/>
                  <a:pt x="511282" y="5927763"/>
                  <a:pt x="511282" y="6018209"/>
                </a:cubicBezTo>
                <a:cubicBezTo>
                  <a:pt x="511282" y="6108653"/>
                  <a:pt x="583892" y="6181265"/>
                  <a:pt x="674337" y="6181265"/>
                </a:cubicBezTo>
                <a:cubicBezTo>
                  <a:pt x="764782" y="6181265"/>
                  <a:pt x="837393" y="6108653"/>
                  <a:pt x="837393" y="6018209"/>
                </a:cubicBezTo>
                <a:cubicBezTo>
                  <a:pt x="837393" y="5927763"/>
                  <a:pt x="764782" y="5855153"/>
                  <a:pt x="674337" y="5855153"/>
                </a:cubicBezTo>
                <a:close/>
                <a:moveTo>
                  <a:pt x="10375356" y="5854333"/>
                </a:moveTo>
                <a:lnTo>
                  <a:pt x="10334572" y="6121561"/>
                </a:lnTo>
                <a:lnTo>
                  <a:pt x="10334472" y="6121413"/>
                </a:lnTo>
                <a:cubicBezTo>
                  <a:pt x="10321077" y="6089706"/>
                  <a:pt x="10313672" y="6054833"/>
                  <a:pt x="10313672" y="6018209"/>
                </a:cubicBezTo>
                <a:cubicBezTo>
                  <a:pt x="10313672" y="5981585"/>
                  <a:pt x="10321077" y="5946713"/>
                  <a:pt x="10334472" y="5915005"/>
                </a:cubicBezTo>
                <a:close/>
                <a:moveTo>
                  <a:pt x="9694571" y="5763433"/>
                </a:moveTo>
                <a:lnTo>
                  <a:pt x="9796481" y="5763433"/>
                </a:lnTo>
                <a:lnTo>
                  <a:pt x="9796481" y="6274257"/>
                </a:lnTo>
                <a:lnTo>
                  <a:pt x="9694571" y="6274257"/>
                </a:lnTo>
                <a:close/>
                <a:moveTo>
                  <a:pt x="1447575" y="5763433"/>
                </a:moveTo>
                <a:lnTo>
                  <a:pt x="1549485" y="5763433"/>
                </a:lnTo>
                <a:lnTo>
                  <a:pt x="1549485" y="6274257"/>
                </a:lnTo>
                <a:lnTo>
                  <a:pt x="1447575" y="6274257"/>
                </a:lnTo>
                <a:close/>
                <a:moveTo>
                  <a:pt x="8922604" y="5753243"/>
                </a:moveTo>
                <a:cubicBezTo>
                  <a:pt x="9069099" y="5753243"/>
                  <a:pt x="9187569" y="5871713"/>
                  <a:pt x="9187569" y="6018209"/>
                </a:cubicBezTo>
                <a:cubicBezTo>
                  <a:pt x="9187569" y="6164705"/>
                  <a:pt x="9069099" y="6283173"/>
                  <a:pt x="8922604" y="6283173"/>
                </a:cubicBezTo>
                <a:cubicBezTo>
                  <a:pt x="8776109" y="6283173"/>
                  <a:pt x="8657638" y="6164705"/>
                  <a:pt x="8657638" y="6018209"/>
                </a:cubicBezTo>
                <a:cubicBezTo>
                  <a:pt x="8657638" y="5871713"/>
                  <a:pt x="8776109" y="5753243"/>
                  <a:pt x="8922604" y="5753243"/>
                </a:cubicBezTo>
                <a:close/>
                <a:moveTo>
                  <a:pt x="675610" y="5753243"/>
                </a:moveTo>
                <a:cubicBezTo>
                  <a:pt x="822108" y="5753243"/>
                  <a:pt x="940577" y="5871713"/>
                  <a:pt x="940577" y="6018209"/>
                </a:cubicBezTo>
                <a:cubicBezTo>
                  <a:pt x="940577" y="6164705"/>
                  <a:pt x="822108" y="6283173"/>
                  <a:pt x="675610" y="6283173"/>
                </a:cubicBezTo>
                <a:cubicBezTo>
                  <a:pt x="529116" y="6283173"/>
                  <a:pt x="410646" y="6164705"/>
                  <a:pt x="410646" y="6018209"/>
                </a:cubicBezTo>
                <a:cubicBezTo>
                  <a:pt x="410646" y="5871713"/>
                  <a:pt x="529116" y="5753243"/>
                  <a:pt x="675610" y="5753243"/>
                </a:cubicBezTo>
                <a:close/>
                <a:moveTo>
                  <a:pt x="9489477" y="5143057"/>
                </a:moveTo>
                <a:lnTo>
                  <a:pt x="10000300" y="5143057"/>
                </a:lnTo>
                <a:lnTo>
                  <a:pt x="10000300" y="5244969"/>
                </a:lnTo>
                <a:lnTo>
                  <a:pt x="9489477" y="5244969"/>
                </a:lnTo>
                <a:close/>
                <a:moveTo>
                  <a:pt x="8706634" y="5143057"/>
                </a:moveTo>
                <a:lnTo>
                  <a:pt x="9176104" y="5143057"/>
                </a:lnTo>
                <a:lnTo>
                  <a:pt x="9176104" y="5244969"/>
                </a:lnTo>
                <a:lnTo>
                  <a:pt x="8707060" y="5244969"/>
                </a:lnTo>
                <a:lnTo>
                  <a:pt x="8709420" y="5198237"/>
                </a:lnTo>
                <a:close/>
                <a:moveTo>
                  <a:pt x="1242485" y="5143057"/>
                </a:moveTo>
                <a:lnTo>
                  <a:pt x="1714449" y="5143057"/>
                </a:lnTo>
                <a:lnTo>
                  <a:pt x="1711662" y="5198237"/>
                </a:lnTo>
                <a:lnTo>
                  <a:pt x="1714022" y="5244969"/>
                </a:lnTo>
                <a:lnTo>
                  <a:pt x="1242485" y="5244969"/>
                </a:lnTo>
                <a:close/>
                <a:moveTo>
                  <a:pt x="2787" y="5143057"/>
                </a:moveTo>
                <a:lnTo>
                  <a:pt x="97302" y="5143057"/>
                </a:lnTo>
                <a:lnTo>
                  <a:pt x="97302" y="5244969"/>
                </a:lnTo>
                <a:lnTo>
                  <a:pt x="2360" y="5244969"/>
                </a:lnTo>
                <a:lnTo>
                  <a:pt x="0" y="5198237"/>
                </a:lnTo>
                <a:close/>
                <a:moveTo>
                  <a:pt x="623389" y="4939239"/>
                </a:moveTo>
                <a:lnTo>
                  <a:pt x="725299" y="4939239"/>
                </a:lnTo>
                <a:lnTo>
                  <a:pt x="725299" y="5450061"/>
                </a:lnTo>
                <a:lnTo>
                  <a:pt x="623389" y="5450061"/>
                </a:lnTo>
                <a:close/>
                <a:moveTo>
                  <a:pt x="86723" y="4273524"/>
                </a:moveTo>
                <a:lnTo>
                  <a:pt x="106218" y="4371093"/>
                </a:lnTo>
                <a:cubicBezTo>
                  <a:pt x="106218" y="4407717"/>
                  <a:pt x="98813" y="4442589"/>
                  <a:pt x="85418" y="4474296"/>
                </a:cubicBezTo>
                <a:lnTo>
                  <a:pt x="47492" y="4530579"/>
                </a:lnTo>
                <a:close/>
                <a:moveTo>
                  <a:pt x="9745526" y="4208037"/>
                </a:moveTo>
                <a:cubicBezTo>
                  <a:pt x="9655081" y="4208037"/>
                  <a:pt x="9582469" y="4280647"/>
                  <a:pt x="9582469" y="4371093"/>
                </a:cubicBezTo>
                <a:cubicBezTo>
                  <a:pt x="9582469" y="4461537"/>
                  <a:pt x="9655081" y="4534147"/>
                  <a:pt x="9745526" y="4534147"/>
                </a:cubicBezTo>
                <a:cubicBezTo>
                  <a:pt x="9835970" y="4534147"/>
                  <a:pt x="9908582" y="4461537"/>
                  <a:pt x="9908582" y="4371093"/>
                </a:cubicBezTo>
                <a:cubicBezTo>
                  <a:pt x="9908582" y="4280647"/>
                  <a:pt x="9835970" y="4208037"/>
                  <a:pt x="9745526" y="4208037"/>
                </a:cubicBezTo>
                <a:close/>
                <a:moveTo>
                  <a:pt x="1498539" y="4208037"/>
                </a:moveTo>
                <a:cubicBezTo>
                  <a:pt x="1408093" y="4208037"/>
                  <a:pt x="1335482" y="4280647"/>
                  <a:pt x="1335482" y="4371093"/>
                </a:cubicBezTo>
                <a:cubicBezTo>
                  <a:pt x="1335482" y="4461537"/>
                  <a:pt x="1408093" y="4534147"/>
                  <a:pt x="1498539" y="4534147"/>
                </a:cubicBezTo>
                <a:cubicBezTo>
                  <a:pt x="1588983" y="4534147"/>
                  <a:pt x="1661593" y="4461537"/>
                  <a:pt x="1661593" y="4371093"/>
                </a:cubicBezTo>
                <a:cubicBezTo>
                  <a:pt x="1661593" y="4280647"/>
                  <a:pt x="1588983" y="4208037"/>
                  <a:pt x="1498539" y="4208037"/>
                </a:cubicBezTo>
                <a:close/>
                <a:moveTo>
                  <a:pt x="8870376" y="4115043"/>
                </a:moveTo>
                <a:lnTo>
                  <a:pt x="8972285" y="4115043"/>
                </a:lnTo>
                <a:lnTo>
                  <a:pt x="8972285" y="4625865"/>
                </a:lnTo>
                <a:lnTo>
                  <a:pt x="8870376" y="4625865"/>
                </a:lnTo>
                <a:close/>
                <a:moveTo>
                  <a:pt x="623387" y="4115043"/>
                </a:moveTo>
                <a:lnTo>
                  <a:pt x="725297" y="4115043"/>
                </a:lnTo>
                <a:lnTo>
                  <a:pt x="725297" y="4625865"/>
                </a:lnTo>
                <a:lnTo>
                  <a:pt x="623387" y="4625865"/>
                </a:lnTo>
                <a:close/>
                <a:moveTo>
                  <a:pt x="9744252" y="4106125"/>
                </a:moveTo>
                <a:cubicBezTo>
                  <a:pt x="9890747" y="4106125"/>
                  <a:pt x="10009217" y="4224597"/>
                  <a:pt x="10009217" y="4371093"/>
                </a:cubicBezTo>
                <a:cubicBezTo>
                  <a:pt x="10009217" y="4517587"/>
                  <a:pt x="9890747" y="4636057"/>
                  <a:pt x="9744252" y="4636057"/>
                </a:cubicBezTo>
                <a:cubicBezTo>
                  <a:pt x="9597757" y="4636057"/>
                  <a:pt x="9479286" y="4517587"/>
                  <a:pt x="9479286" y="4371093"/>
                </a:cubicBezTo>
                <a:cubicBezTo>
                  <a:pt x="9479286" y="4224597"/>
                  <a:pt x="9597757" y="4106125"/>
                  <a:pt x="9744252" y="4106125"/>
                </a:cubicBezTo>
                <a:close/>
                <a:moveTo>
                  <a:pt x="1499812" y="4106125"/>
                </a:moveTo>
                <a:cubicBezTo>
                  <a:pt x="1646307" y="4106125"/>
                  <a:pt x="1764778" y="4224597"/>
                  <a:pt x="1764778" y="4371093"/>
                </a:cubicBezTo>
                <a:cubicBezTo>
                  <a:pt x="1764778" y="4517587"/>
                  <a:pt x="1646307" y="4636057"/>
                  <a:pt x="1499812" y="4636057"/>
                </a:cubicBezTo>
                <a:cubicBezTo>
                  <a:pt x="1353316" y="4634783"/>
                  <a:pt x="1234846" y="4517587"/>
                  <a:pt x="1234846" y="4371093"/>
                </a:cubicBezTo>
                <a:cubicBezTo>
                  <a:pt x="1234846" y="4224597"/>
                  <a:pt x="1353316" y="4106125"/>
                  <a:pt x="1499812" y="4106125"/>
                </a:cubicBezTo>
                <a:close/>
                <a:moveTo>
                  <a:pt x="9489477" y="3495941"/>
                </a:moveTo>
                <a:lnTo>
                  <a:pt x="10000300" y="3495941"/>
                </a:lnTo>
                <a:lnTo>
                  <a:pt x="10000300" y="3597851"/>
                </a:lnTo>
                <a:lnTo>
                  <a:pt x="9489477" y="3597851"/>
                </a:lnTo>
                <a:close/>
                <a:moveTo>
                  <a:pt x="2066685" y="3495941"/>
                </a:moveTo>
                <a:lnTo>
                  <a:pt x="2154931" y="3495941"/>
                </a:lnTo>
                <a:lnTo>
                  <a:pt x="2133958" y="3530464"/>
                </a:lnTo>
                <a:lnTo>
                  <a:pt x="2101496" y="3597851"/>
                </a:lnTo>
                <a:lnTo>
                  <a:pt x="2066685" y="3597851"/>
                </a:lnTo>
                <a:close/>
                <a:moveTo>
                  <a:pt x="674343" y="3383841"/>
                </a:moveTo>
                <a:cubicBezTo>
                  <a:pt x="583899" y="3383841"/>
                  <a:pt x="511289" y="3456451"/>
                  <a:pt x="511289" y="3546897"/>
                </a:cubicBezTo>
                <a:cubicBezTo>
                  <a:pt x="511289" y="3637341"/>
                  <a:pt x="583899" y="3709953"/>
                  <a:pt x="674343" y="3709953"/>
                </a:cubicBezTo>
                <a:cubicBezTo>
                  <a:pt x="764789" y="3709953"/>
                  <a:pt x="837399" y="3637341"/>
                  <a:pt x="837399" y="3546897"/>
                </a:cubicBezTo>
                <a:cubicBezTo>
                  <a:pt x="837399" y="3456451"/>
                  <a:pt x="764789" y="3383841"/>
                  <a:pt x="674343" y="3383841"/>
                </a:cubicBezTo>
                <a:close/>
                <a:moveTo>
                  <a:pt x="8870376" y="3292121"/>
                </a:moveTo>
                <a:lnTo>
                  <a:pt x="8972285" y="3292121"/>
                </a:lnTo>
                <a:lnTo>
                  <a:pt x="8972285" y="3802945"/>
                </a:lnTo>
                <a:lnTo>
                  <a:pt x="8870376" y="3802945"/>
                </a:lnTo>
                <a:close/>
                <a:moveTo>
                  <a:pt x="8142327" y="3292121"/>
                </a:moveTo>
                <a:lnTo>
                  <a:pt x="8148089" y="3292121"/>
                </a:lnTo>
                <a:lnTo>
                  <a:pt x="8148089" y="3301606"/>
                </a:lnTo>
                <a:close/>
                <a:moveTo>
                  <a:pt x="1447583" y="3292121"/>
                </a:moveTo>
                <a:lnTo>
                  <a:pt x="1549493" y="3292121"/>
                </a:lnTo>
                <a:lnTo>
                  <a:pt x="1549493" y="3802945"/>
                </a:lnTo>
                <a:lnTo>
                  <a:pt x="1447583" y="3802945"/>
                </a:lnTo>
                <a:close/>
                <a:moveTo>
                  <a:pt x="675617" y="3281931"/>
                </a:moveTo>
                <a:cubicBezTo>
                  <a:pt x="822113" y="3281931"/>
                  <a:pt x="940583" y="3400401"/>
                  <a:pt x="940583" y="3546897"/>
                </a:cubicBezTo>
                <a:cubicBezTo>
                  <a:pt x="940583" y="3693393"/>
                  <a:pt x="822113" y="3811861"/>
                  <a:pt x="675617" y="3811861"/>
                </a:cubicBezTo>
                <a:cubicBezTo>
                  <a:pt x="529123" y="3811861"/>
                  <a:pt x="410652" y="3693393"/>
                  <a:pt x="410652" y="3546897"/>
                </a:cubicBezTo>
                <a:cubicBezTo>
                  <a:pt x="410652" y="3400401"/>
                  <a:pt x="529123" y="3281931"/>
                  <a:pt x="675617" y="3281931"/>
                </a:cubicBezTo>
                <a:close/>
                <a:moveTo>
                  <a:pt x="1242482" y="2671745"/>
                </a:moveTo>
                <a:lnTo>
                  <a:pt x="1753305" y="2671745"/>
                </a:lnTo>
                <a:lnTo>
                  <a:pt x="1753305" y="2773657"/>
                </a:lnTo>
                <a:lnTo>
                  <a:pt x="1242482" y="2773657"/>
                </a:lnTo>
                <a:close/>
                <a:moveTo>
                  <a:pt x="8921331" y="2560919"/>
                </a:moveTo>
                <a:cubicBezTo>
                  <a:pt x="8832160" y="2560919"/>
                  <a:pt x="8758275" y="2633529"/>
                  <a:pt x="8758275" y="2723975"/>
                </a:cubicBezTo>
                <a:cubicBezTo>
                  <a:pt x="8758275" y="2814419"/>
                  <a:pt x="8830885" y="2887029"/>
                  <a:pt x="8921331" y="2887029"/>
                </a:cubicBezTo>
                <a:cubicBezTo>
                  <a:pt x="9011776" y="2887029"/>
                  <a:pt x="9084386" y="2814419"/>
                  <a:pt x="9084386" y="2723975"/>
                </a:cubicBezTo>
                <a:cubicBezTo>
                  <a:pt x="9084386" y="2633529"/>
                  <a:pt x="9011776" y="2560919"/>
                  <a:pt x="8921331" y="2560919"/>
                </a:cubicBezTo>
                <a:close/>
                <a:moveTo>
                  <a:pt x="2322726" y="2560919"/>
                </a:moveTo>
                <a:cubicBezTo>
                  <a:pt x="2232282" y="2560919"/>
                  <a:pt x="2159671" y="2633529"/>
                  <a:pt x="2159671" y="2723975"/>
                </a:cubicBezTo>
                <a:cubicBezTo>
                  <a:pt x="2159671" y="2814419"/>
                  <a:pt x="2232282" y="2887029"/>
                  <a:pt x="2322726" y="2887029"/>
                </a:cubicBezTo>
                <a:cubicBezTo>
                  <a:pt x="2411897" y="2885757"/>
                  <a:pt x="2485782" y="2813145"/>
                  <a:pt x="2485782" y="2723975"/>
                </a:cubicBezTo>
                <a:cubicBezTo>
                  <a:pt x="2485782" y="2633529"/>
                  <a:pt x="2413173" y="2560919"/>
                  <a:pt x="2322726" y="2560919"/>
                </a:cubicBezTo>
                <a:close/>
                <a:moveTo>
                  <a:pt x="9694571" y="2553886"/>
                </a:moveTo>
                <a:lnTo>
                  <a:pt x="9792198" y="2714584"/>
                </a:lnTo>
                <a:lnTo>
                  <a:pt x="9796481" y="2723476"/>
                </a:lnTo>
                <a:lnTo>
                  <a:pt x="9796481" y="2978749"/>
                </a:lnTo>
                <a:lnTo>
                  <a:pt x="9694571" y="2978749"/>
                </a:lnTo>
                <a:close/>
                <a:moveTo>
                  <a:pt x="772671" y="2477905"/>
                </a:moveTo>
                <a:lnTo>
                  <a:pt x="778813" y="2479809"/>
                </a:lnTo>
                <a:cubicBezTo>
                  <a:pt x="873936" y="2519996"/>
                  <a:pt x="940575" y="2614103"/>
                  <a:pt x="940575" y="2723975"/>
                </a:cubicBezTo>
                <a:cubicBezTo>
                  <a:pt x="940575" y="2870469"/>
                  <a:pt x="822106" y="2988941"/>
                  <a:pt x="675608" y="2988941"/>
                </a:cubicBezTo>
                <a:cubicBezTo>
                  <a:pt x="620673" y="2988463"/>
                  <a:pt x="569678" y="2971504"/>
                  <a:pt x="527394" y="2942835"/>
                </a:cubicBezTo>
                <a:lnTo>
                  <a:pt x="521341" y="2937832"/>
                </a:lnTo>
                <a:lnTo>
                  <a:pt x="566336" y="2844427"/>
                </a:lnTo>
                <a:lnTo>
                  <a:pt x="610701" y="2874271"/>
                </a:lnTo>
                <a:cubicBezTo>
                  <a:pt x="630227" y="2882491"/>
                  <a:pt x="651723" y="2887029"/>
                  <a:pt x="674334" y="2887029"/>
                </a:cubicBezTo>
                <a:cubicBezTo>
                  <a:pt x="764780" y="2885757"/>
                  <a:pt x="837390" y="2813145"/>
                  <a:pt x="837390" y="2723975"/>
                </a:cubicBezTo>
                <a:cubicBezTo>
                  <a:pt x="837390" y="2656141"/>
                  <a:pt x="796547" y="2598339"/>
                  <a:pt x="737968" y="2573678"/>
                </a:cubicBezTo>
                <a:lnTo>
                  <a:pt x="717037" y="2569481"/>
                </a:lnTo>
                <a:close/>
                <a:moveTo>
                  <a:pt x="8046180" y="2467925"/>
                </a:moveTo>
                <a:lnTo>
                  <a:pt x="8148089" y="2467925"/>
                </a:lnTo>
                <a:lnTo>
                  <a:pt x="8148089" y="2978749"/>
                </a:lnTo>
                <a:lnTo>
                  <a:pt x="8046180" y="2978749"/>
                </a:lnTo>
                <a:close/>
                <a:moveTo>
                  <a:pt x="8921331" y="2459009"/>
                </a:moveTo>
                <a:cubicBezTo>
                  <a:pt x="9067826" y="2459009"/>
                  <a:pt x="9186296" y="2577479"/>
                  <a:pt x="9186296" y="2723975"/>
                </a:cubicBezTo>
                <a:cubicBezTo>
                  <a:pt x="9186296" y="2870469"/>
                  <a:pt x="9067826" y="2988941"/>
                  <a:pt x="8921331" y="2988941"/>
                </a:cubicBezTo>
                <a:cubicBezTo>
                  <a:pt x="8774836" y="2988941"/>
                  <a:pt x="8656365" y="2870469"/>
                  <a:pt x="8656365" y="2723975"/>
                </a:cubicBezTo>
                <a:cubicBezTo>
                  <a:pt x="8656365" y="2577479"/>
                  <a:pt x="8774836" y="2459009"/>
                  <a:pt x="8921331" y="2459009"/>
                </a:cubicBezTo>
                <a:close/>
                <a:moveTo>
                  <a:pt x="2322726" y="2459009"/>
                </a:moveTo>
                <a:cubicBezTo>
                  <a:pt x="2469222" y="2459009"/>
                  <a:pt x="2587692" y="2577479"/>
                  <a:pt x="2587692" y="2723975"/>
                </a:cubicBezTo>
                <a:cubicBezTo>
                  <a:pt x="2587692" y="2870469"/>
                  <a:pt x="2469222" y="2988941"/>
                  <a:pt x="2322726" y="2988941"/>
                </a:cubicBezTo>
                <a:cubicBezTo>
                  <a:pt x="2176232" y="2988941"/>
                  <a:pt x="2057761" y="2869197"/>
                  <a:pt x="2057761" y="2723975"/>
                </a:cubicBezTo>
                <a:cubicBezTo>
                  <a:pt x="2057761" y="2577479"/>
                  <a:pt x="2176232" y="2459009"/>
                  <a:pt x="2322726" y="2459009"/>
                </a:cubicBezTo>
                <a:close/>
                <a:moveTo>
                  <a:pt x="7842360" y="1848825"/>
                </a:moveTo>
                <a:lnTo>
                  <a:pt x="8353182" y="1848825"/>
                </a:lnTo>
                <a:lnTo>
                  <a:pt x="8353182" y="1950733"/>
                </a:lnTo>
                <a:lnTo>
                  <a:pt x="7842360" y="1950733"/>
                </a:lnTo>
                <a:close/>
                <a:moveTo>
                  <a:pt x="6223404" y="1848825"/>
                </a:moveTo>
                <a:lnTo>
                  <a:pt x="6704792" y="1848825"/>
                </a:lnTo>
                <a:lnTo>
                  <a:pt x="6704792" y="1950733"/>
                </a:lnTo>
                <a:lnTo>
                  <a:pt x="6512646" y="1950733"/>
                </a:lnTo>
                <a:lnTo>
                  <a:pt x="6413573" y="1911670"/>
                </a:lnTo>
                <a:cubicBezTo>
                  <a:pt x="6359984" y="1892049"/>
                  <a:pt x="6305781" y="1873700"/>
                  <a:pt x="6251001" y="1856662"/>
                </a:cubicBezTo>
                <a:close/>
                <a:moveTo>
                  <a:pt x="2890884" y="1848825"/>
                </a:moveTo>
                <a:lnTo>
                  <a:pt x="3401707" y="1848825"/>
                </a:lnTo>
                <a:lnTo>
                  <a:pt x="3401707" y="1950733"/>
                </a:lnTo>
                <a:lnTo>
                  <a:pt x="2890884" y="1950733"/>
                </a:lnTo>
                <a:close/>
                <a:moveTo>
                  <a:pt x="1242493" y="1848825"/>
                </a:moveTo>
                <a:lnTo>
                  <a:pt x="1753316" y="1848825"/>
                </a:lnTo>
                <a:lnTo>
                  <a:pt x="1753316" y="1950733"/>
                </a:lnTo>
                <a:lnTo>
                  <a:pt x="1242493" y="1950733"/>
                </a:lnTo>
                <a:close/>
                <a:moveTo>
                  <a:pt x="8921331" y="1736725"/>
                </a:moveTo>
                <a:cubicBezTo>
                  <a:pt x="8832160" y="1736725"/>
                  <a:pt x="8758275" y="1809335"/>
                  <a:pt x="8758275" y="1899781"/>
                </a:cubicBezTo>
                <a:cubicBezTo>
                  <a:pt x="8758275" y="1990225"/>
                  <a:pt x="8830885" y="2062835"/>
                  <a:pt x="8921331" y="2062835"/>
                </a:cubicBezTo>
                <a:cubicBezTo>
                  <a:pt x="9011776" y="2062835"/>
                  <a:pt x="9084386" y="1990225"/>
                  <a:pt x="9084386" y="1899781"/>
                </a:cubicBezTo>
                <a:cubicBezTo>
                  <a:pt x="9084386" y="1809335"/>
                  <a:pt x="9011776" y="1736725"/>
                  <a:pt x="8921331" y="1736725"/>
                </a:cubicBezTo>
                <a:close/>
                <a:moveTo>
                  <a:pt x="7223258" y="1643731"/>
                </a:moveTo>
                <a:lnTo>
                  <a:pt x="7325168" y="1643731"/>
                </a:lnTo>
                <a:lnTo>
                  <a:pt x="7325168" y="2154553"/>
                </a:lnTo>
                <a:lnTo>
                  <a:pt x="7223258" y="2154553"/>
                </a:lnTo>
                <a:close/>
                <a:moveTo>
                  <a:pt x="2271782" y="1643731"/>
                </a:moveTo>
                <a:lnTo>
                  <a:pt x="2373691" y="1643731"/>
                </a:lnTo>
                <a:lnTo>
                  <a:pt x="2373691" y="2154553"/>
                </a:lnTo>
                <a:lnTo>
                  <a:pt x="2271782" y="2154553"/>
                </a:lnTo>
                <a:close/>
                <a:moveTo>
                  <a:pt x="8921331" y="1634813"/>
                </a:moveTo>
                <a:cubicBezTo>
                  <a:pt x="8957955" y="1634813"/>
                  <a:pt x="8992827" y="1642218"/>
                  <a:pt x="9024534" y="1655614"/>
                </a:cubicBezTo>
                <a:lnTo>
                  <a:pt x="9036119" y="1661896"/>
                </a:lnTo>
                <a:lnTo>
                  <a:pt x="9067478" y="1694788"/>
                </a:lnTo>
                <a:lnTo>
                  <a:pt x="9168482" y="1811390"/>
                </a:lnTo>
                <a:lnTo>
                  <a:pt x="9186296" y="1899781"/>
                </a:lnTo>
                <a:cubicBezTo>
                  <a:pt x="9186296" y="2046275"/>
                  <a:pt x="9067826" y="2164745"/>
                  <a:pt x="8921331" y="2164745"/>
                </a:cubicBezTo>
                <a:cubicBezTo>
                  <a:pt x="8774836" y="2164745"/>
                  <a:pt x="8656365" y="2046275"/>
                  <a:pt x="8656365" y="1899781"/>
                </a:cubicBezTo>
                <a:cubicBezTo>
                  <a:pt x="8656365" y="1753285"/>
                  <a:pt x="8774836" y="1634813"/>
                  <a:pt x="8921331" y="1634813"/>
                </a:cubicBezTo>
                <a:close/>
                <a:moveTo>
                  <a:pt x="3969851" y="1634813"/>
                </a:moveTo>
                <a:cubicBezTo>
                  <a:pt x="4079723" y="1634813"/>
                  <a:pt x="4173831" y="1701454"/>
                  <a:pt x="4214017" y="1796577"/>
                </a:cubicBezTo>
                <a:lnTo>
                  <a:pt x="4223093" y="1841608"/>
                </a:lnTo>
                <a:lnTo>
                  <a:pt x="4170081" y="1856662"/>
                </a:lnTo>
                <a:lnTo>
                  <a:pt x="4127174" y="1871180"/>
                </a:lnTo>
                <a:lnTo>
                  <a:pt x="4120150" y="1836147"/>
                </a:lnTo>
                <a:cubicBezTo>
                  <a:pt x="4095488" y="1777568"/>
                  <a:pt x="4037686" y="1736725"/>
                  <a:pt x="3969851" y="1736725"/>
                </a:cubicBezTo>
                <a:cubicBezTo>
                  <a:pt x="3880680" y="1736725"/>
                  <a:pt x="3806796" y="1809335"/>
                  <a:pt x="3806796" y="1899781"/>
                </a:cubicBezTo>
                <a:cubicBezTo>
                  <a:pt x="3806796" y="1922392"/>
                  <a:pt x="3811334" y="1943889"/>
                  <a:pt x="3819555" y="1963414"/>
                </a:cubicBezTo>
                <a:lnTo>
                  <a:pt x="3832208" y="1982224"/>
                </a:lnTo>
                <a:lnTo>
                  <a:pt x="3741230" y="2026051"/>
                </a:lnTo>
                <a:lnTo>
                  <a:pt x="3725686" y="2002984"/>
                </a:lnTo>
                <a:cubicBezTo>
                  <a:pt x="3712291" y="1971277"/>
                  <a:pt x="3704886" y="1936405"/>
                  <a:pt x="3704886" y="1899781"/>
                </a:cubicBezTo>
                <a:cubicBezTo>
                  <a:pt x="3704886" y="1753285"/>
                  <a:pt x="3823356" y="1634813"/>
                  <a:pt x="3969851" y="1634813"/>
                </a:cubicBezTo>
                <a:close/>
                <a:moveTo>
                  <a:pt x="7842360" y="1024629"/>
                </a:moveTo>
                <a:lnTo>
                  <a:pt x="8330359" y="1024629"/>
                </a:lnTo>
                <a:lnTo>
                  <a:pt x="8353182" y="1042565"/>
                </a:lnTo>
                <a:lnTo>
                  <a:pt x="8353182" y="1126539"/>
                </a:lnTo>
                <a:lnTo>
                  <a:pt x="7842360" y="1126539"/>
                </a:lnTo>
                <a:close/>
                <a:moveTo>
                  <a:pt x="5371048" y="1024629"/>
                </a:moveTo>
                <a:lnTo>
                  <a:pt x="5881870" y="1024629"/>
                </a:lnTo>
                <a:lnTo>
                  <a:pt x="5881870" y="1126539"/>
                </a:lnTo>
                <a:lnTo>
                  <a:pt x="5371048" y="1126539"/>
                </a:lnTo>
                <a:close/>
                <a:moveTo>
                  <a:pt x="4538001" y="1024629"/>
                </a:moveTo>
                <a:lnTo>
                  <a:pt x="5048825" y="1024629"/>
                </a:lnTo>
                <a:lnTo>
                  <a:pt x="5048825" y="1126539"/>
                </a:lnTo>
                <a:lnTo>
                  <a:pt x="4538001" y="1126539"/>
                </a:lnTo>
                <a:close/>
                <a:moveTo>
                  <a:pt x="2890886" y="1024629"/>
                </a:moveTo>
                <a:lnTo>
                  <a:pt x="3401709" y="1024629"/>
                </a:lnTo>
                <a:lnTo>
                  <a:pt x="3401709" y="1126539"/>
                </a:lnTo>
                <a:lnTo>
                  <a:pt x="2890886" y="1126539"/>
                </a:lnTo>
                <a:close/>
                <a:moveTo>
                  <a:pt x="6450017" y="912529"/>
                </a:moveTo>
                <a:cubicBezTo>
                  <a:pt x="6359572" y="912529"/>
                  <a:pt x="6286962" y="985139"/>
                  <a:pt x="6286962" y="1075585"/>
                </a:cubicBezTo>
                <a:cubicBezTo>
                  <a:pt x="6286962" y="1166029"/>
                  <a:pt x="6359572" y="1238639"/>
                  <a:pt x="6450017" y="1238639"/>
                </a:cubicBezTo>
                <a:cubicBezTo>
                  <a:pt x="6540463" y="1238639"/>
                  <a:pt x="6613073" y="1166029"/>
                  <a:pt x="6613073" y="1075585"/>
                </a:cubicBezTo>
                <a:cubicBezTo>
                  <a:pt x="6613073" y="985139"/>
                  <a:pt x="6540463" y="912529"/>
                  <a:pt x="6450017" y="912529"/>
                </a:cubicBezTo>
                <a:close/>
                <a:moveTo>
                  <a:pt x="2373692" y="828587"/>
                </a:moveTo>
                <a:lnTo>
                  <a:pt x="2373692" y="1331633"/>
                </a:lnTo>
                <a:lnTo>
                  <a:pt x="2271782" y="1331633"/>
                </a:lnTo>
                <a:lnTo>
                  <a:pt x="2271782" y="895706"/>
                </a:lnTo>
                <a:lnTo>
                  <a:pt x="2297278" y="877575"/>
                </a:lnTo>
                <a:close/>
                <a:moveTo>
                  <a:pt x="7223258" y="820809"/>
                </a:moveTo>
                <a:lnTo>
                  <a:pt x="7325168" y="820809"/>
                </a:lnTo>
                <a:lnTo>
                  <a:pt x="7325168" y="1331633"/>
                </a:lnTo>
                <a:lnTo>
                  <a:pt x="7223258" y="1331633"/>
                </a:lnTo>
                <a:close/>
                <a:moveTo>
                  <a:pt x="3918899" y="820809"/>
                </a:moveTo>
                <a:lnTo>
                  <a:pt x="4020808" y="820809"/>
                </a:lnTo>
                <a:lnTo>
                  <a:pt x="4020808" y="1331633"/>
                </a:lnTo>
                <a:lnTo>
                  <a:pt x="3918899" y="1331633"/>
                </a:lnTo>
                <a:close/>
                <a:moveTo>
                  <a:pt x="6451292" y="810617"/>
                </a:moveTo>
                <a:cubicBezTo>
                  <a:pt x="6597788" y="810617"/>
                  <a:pt x="6716257" y="929089"/>
                  <a:pt x="6716257" y="1075585"/>
                </a:cubicBezTo>
                <a:cubicBezTo>
                  <a:pt x="6716257" y="1222079"/>
                  <a:pt x="6597788" y="1340549"/>
                  <a:pt x="6451292" y="1340549"/>
                </a:cubicBezTo>
                <a:cubicBezTo>
                  <a:pt x="6303522" y="1340549"/>
                  <a:pt x="6186326" y="1222079"/>
                  <a:pt x="6186326" y="1075585"/>
                </a:cubicBezTo>
                <a:cubicBezTo>
                  <a:pt x="6186326" y="929089"/>
                  <a:pt x="6304797" y="810617"/>
                  <a:pt x="6451292" y="810617"/>
                </a:cubicBezTo>
                <a:close/>
                <a:moveTo>
                  <a:pt x="6399063" y="125503"/>
                </a:moveTo>
                <a:lnTo>
                  <a:pt x="6500973" y="149024"/>
                </a:lnTo>
                <a:lnTo>
                  <a:pt x="6500973" y="508711"/>
                </a:lnTo>
                <a:lnTo>
                  <a:pt x="6399063" y="508711"/>
                </a:lnTo>
                <a:close/>
                <a:moveTo>
                  <a:pt x="4743094" y="101073"/>
                </a:moveTo>
                <a:lnTo>
                  <a:pt x="4845004" y="101073"/>
                </a:lnTo>
                <a:lnTo>
                  <a:pt x="4845004" y="508711"/>
                </a:lnTo>
                <a:lnTo>
                  <a:pt x="4743094" y="508711"/>
                </a:lnTo>
                <a:close/>
                <a:moveTo>
                  <a:pt x="4174642" y="91020"/>
                </a:moveTo>
                <a:lnTo>
                  <a:pt x="4214021" y="149458"/>
                </a:lnTo>
                <a:cubicBezTo>
                  <a:pt x="4227416" y="181166"/>
                  <a:pt x="4234820" y="216038"/>
                  <a:pt x="4234820" y="252661"/>
                </a:cubicBezTo>
                <a:cubicBezTo>
                  <a:pt x="4234820" y="399157"/>
                  <a:pt x="4116350" y="517629"/>
                  <a:pt x="3969854" y="517629"/>
                </a:cubicBezTo>
                <a:cubicBezTo>
                  <a:pt x="3823359" y="517629"/>
                  <a:pt x="3704889" y="399157"/>
                  <a:pt x="3704889" y="252661"/>
                </a:cubicBezTo>
                <a:lnTo>
                  <a:pt x="3714113" y="206895"/>
                </a:lnTo>
                <a:lnTo>
                  <a:pt x="3829928" y="174007"/>
                </a:lnTo>
                <a:lnTo>
                  <a:pt x="3819737" y="189028"/>
                </a:lnTo>
                <a:cubicBezTo>
                  <a:pt x="3811417" y="208554"/>
                  <a:pt x="3806799" y="230050"/>
                  <a:pt x="3806799" y="252661"/>
                </a:cubicBezTo>
                <a:cubicBezTo>
                  <a:pt x="3806799" y="343107"/>
                  <a:pt x="3879410" y="415717"/>
                  <a:pt x="3969854" y="415717"/>
                </a:cubicBezTo>
                <a:cubicBezTo>
                  <a:pt x="4060300" y="415717"/>
                  <a:pt x="4132911" y="343107"/>
                  <a:pt x="4132911" y="252661"/>
                </a:cubicBezTo>
                <a:cubicBezTo>
                  <a:pt x="4132911" y="207439"/>
                  <a:pt x="4114759" y="166676"/>
                  <a:pt x="4085300" y="137218"/>
                </a:cubicBezTo>
                <a:lnTo>
                  <a:pt x="4056168" y="117622"/>
                </a:lnTo>
                <a:lnTo>
                  <a:pt x="4160436" y="93557"/>
                </a:lnTo>
                <a:close/>
                <a:moveTo>
                  <a:pt x="5625822" y="89607"/>
                </a:moveTo>
                <a:cubicBezTo>
                  <a:pt x="5535377" y="89607"/>
                  <a:pt x="5462766" y="162217"/>
                  <a:pt x="5462766" y="252661"/>
                </a:cubicBezTo>
                <a:cubicBezTo>
                  <a:pt x="5462766" y="343107"/>
                  <a:pt x="5535377" y="415717"/>
                  <a:pt x="5625822" y="415717"/>
                </a:cubicBezTo>
                <a:cubicBezTo>
                  <a:pt x="5716267" y="414445"/>
                  <a:pt x="5788878" y="341833"/>
                  <a:pt x="5788878" y="252661"/>
                </a:cubicBezTo>
                <a:cubicBezTo>
                  <a:pt x="5788878" y="162217"/>
                  <a:pt x="5716267" y="89607"/>
                  <a:pt x="5625822" y="89607"/>
                </a:cubicBezTo>
                <a:close/>
                <a:moveTo>
                  <a:pt x="5551305" y="0"/>
                </a:moveTo>
                <a:lnTo>
                  <a:pt x="5741268" y="14445"/>
                </a:lnTo>
                <a:lnTo>
                  <a:pt x="5775311" y="32907"/>
                </a:lnTo>
                <a:cubicBezTo>
                  <a:pt x="5845785" y="80491"/>
                  <a:pt x="5892062" y="161102"/>
                  <a:pt x="5892062" y="252661"/>
                </a:cubicBezTo>
                <a:cubicBezTo>
                  <a:pt x="5892062" y="399157"/>
                  <a:pt x="5773592" y="517629"/>
                  <a:pt x="5627096" y="517629"/>
                </a:cubicBezTo>
                <a:cubicBezTo>
                  <a:pt x="5480601" y="516353"/>
                  <a:pt x="5362131" y="397885"/>
                  <a:pt x="5362131" y="252661"/>
                </a:cubicBezTo>
                <a:cubicBezTo>
                  <a:pt x="5362131" y="142791"/>
                  <a:pt x="5428771" y="48684"/>
                  <a:pt x="5523893" y="8497"/>
                </a:cubicBezTo>
                <a:close/>
              </a:path>
            </a:pathLst>
          </a:custGeom>
          <a:gradFill>
            <a:gsLst>
              <a:gs pos="100000">
                <a:schemeClr val="accent1">
                  <a:lumMod val="50000"/>
                  <a:alpha val="15000"/>
                </a:schemeClr>
              </a:gs>
              <a:gs pos="0">
                <a:schemeClr val="accent1">
                  <a:lumMod val="50000"/>
                  <a:alpha val="0"/>
                </a:schemeClr>
              </a:gs>
            </a:gsLst>
            <a:lin ang="18900000" scaled="0"/>
          </a:gradFill>
          <a:ln w="1273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9" name="Circle: Hollow 429">
            <a:extLst>
              <a:ext uri="{FF2B5EF4-FFF2-40B4-BE49-F238E27FC236}">
                <a16:creationId xmlns:a16="http://schemas.microsoft.com/office/drawing/2014/main" id="{BDA9392A-9839-124B-8A4C-DEF2DFFCFCC7}"/>
              </a:ext>
            </a:extLst>
          </p:cNvPr>
          <p:cNvSpPr/>
          <p:nvPr userDrawn="1"/>
        </p:nvSpPr>
        <p:spPr>
          <a:xfrm flipV="1">
            <a:off x="-1489805" y="945142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7ADD9CC3-F522-5240-B04B-5FD2198C6567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2040866" y="-51094"/>
            <a:ext cx="8503920" cy="841248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19492600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E15FAE27-BA94-E240-8F71-430FC64F55C7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2040866" y="-51094"/>
            <a:ext cx="8503920" cy="8412480"/>
          </a:xfrm>
          <a:prstGeom prst="rect">
            <a:avLst/>
          </a:prstGeom>
          <a:effectLst/>
        </p:spPr>
      </p:pic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64DAAD5-C2C5-4B95-9740-9BDDDA246172}"/>
              </a:ext>
            </a:extLst>
          </p:cNvPr>
          <p:cNvSpPr/>
          <p:nvPr userDrawn="1"/>
        </p:nvSpPr>
        <p:spPr>
          <a:xfrm flipV="1">
            <a:off x="0" y="-1288"/>
            <a:ext cx="12192000" cy="6858000"/>
          </a:xfrm>
          <a:custGeom>
            <a:avLst/>
            <a:gdLst>
              <a:gd name="connsiteX0" fmla="*/ 4892433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7999 h 6858000"/>
              <a:gd name="connsiteX3" fmla="*/ 7112000 w 12192000"/>
              <a:gd name="connsiteY3" fmla="*/ 6857999 h 6858000"/>
              <a:gd name="connsiteX4" fmla="*/ 6096000 w 12192000"/>
              <a:gd name="connsiteY4" fmla="*/ 6857999 h 6858000"/>
              <a:gd name="connsiteX5" fmla="*/ 5548505 w 12192000"/>
              <a:gd name="connsiteY5" fmla="*/ 6857999 h 6858000"/>
              <a:gd name="connsiteX6" fmla="*/ 5548504 w 12192000"/>
              <a:gd name="connsiteY6" fmla="*/ 6858000 h 6858000"/>
              <a:gd name="connsiteX7" fmla="*/ 0 w 12192000"/>
              <a:gd name="connsiteY7" fmla="*/ 6858000 h 6858000"/>
              <a:gd name="connsiteX8" fmla="*/ 0 w 12192000"/>
              <a:gd name="connsiteY8" fmla="*/ 4953304 h 6858000"/>
              <a:gd name="connsiteX9" fmla="*/ 236754 w 12192000"/>
              <a:gd name="connsiteY9" fmla="*/ 5130345 h 6858000"/>
              <a:gd name="connsiteX10" fmla="*/ 2193559 w 12192000"/>
              <a:gd name="connsiteY10" fmla="*/ 5728066 h 6858000"/>
              <a:gd name="connsiteX11" fmla="*/ 5693420 w 12192000"/>
              <a:gd name="connsiteY11" fmla="*/ 2228205 h 6858000"/>
              <a:gd name="connsiteX12" fmla="*/ 4894222 w 12192000"/>
              <a:gd name="connsiteY12" fmla="*/ 196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0" h="6858000">
                <a:moveTo>
                  <a:pt x="4892433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7112000" y="6857999"/>
                </a:lnTo>
                <a:lnTo>
                  <a:pt x="6096000" y="6857999"/>
                </a:lnTo>
                <a:lnTo>
                  <a:pt x="5548505" y="6857999"/>
                </a:lnTo>
                <a:lnTo>
                  <a:pt x="5548504" y="6858000"/>
                </a:lnTo>
                <a:lnTo>
                  <a:pt x="0" y="6858000"/>
                </a:lnTo>
                <a:lnTo>
                  <a:pt x="0" y="4953304"/>
                </a:lnTo>
                <a:lnTo>
                  <a:pt x="236754" y="5130345"/>
                </a:lnTo>
                <a:cubicBezTo>
                  <a:pt x="795335" y="5507715"/>
                  <a:pt x="1468714" y="5728066"/>
                  <a:pt x="2193559" y="5728066"/>
                </a:cubicBezTo>
                <a:cubicBezTo>
                  <a:pt x="4126479" y="5728066"/>
                  <a:pt x="5693420" y="4161125"/>
                  <a:pt x="5693420" y="2228205"/>
                </a:cubicBezTo>
                <a:cubicBezTo>
                  <a:pt x="5693420" y="1382553"/>
                  <a:pt x="5393498" y="606951"/>
                  <a:pt x="4894222" y="196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BC73C0-FD7C-49DF-B2BC-1222FCFC032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76284" y="519201"/>
            <a:ext cx="6679261" cy="1163955"/>
          </a:xfrm>
        </p:spPr>
        <p:txBody>
          <a:bodyPr lIns="36000" rIns="0" anchor="ctr">
            <a:noAutofit/>
          </a:bodyPr>
          <a:lstStyle>
            <a:lvl1pPr algn="r"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Title Block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0F1A5B1-7950-41B4-A0A3-91FEE2C6B33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71853" y="1857502"/>
            <a:ext cx="4983692" cy="361054"/>
          </a:xfrm>
          <a:prstGeom prst="rect">
            <a:avLst/>
          </a:prstGeom>
        </p:spPr>
        <p:txBody>
          <a:bodyPr lIns="36000" rIns="0" anchor="ctr"/>
          <a:lstStyle>
            <a:lvl1pPr marL="0" indent="0" algn="r">
              <a:buNone/>
              <a:defRPr sz="2400" i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Insert Date</a:t>
            </a:r>
            <a:endParaRPr lang="en-GB" dirty="0"/>
          </a:p>
        </p:txBody>
      </p:sp>
      <p:sp>
        <p:nvSpPr>
          <p:cNvPr id="430" name="Circle: Hollow 429">
            <a:extLst>
              <a:ext uri="{FF2B5EF4-FFF2-40B4-BE49-F238E27FC236}">
                <a16:creationId xmlns:a16="http://schemas.microsoft.com/office/drawing/2014/main" id="{4FBE3FB6-1C75-477E-A1DD-DA5AC0C318E0}"/>
              </a:ext>
            </a:extLst>
          </p:cNvPr>
          <p:cNvSpPr/>
          <p:nvPr userDrawn="1"/>
        </p:nvSpPr>
        <p:spPr>
          <a:xfrm flipV="1">
            <a:off x="-1489805" y="945142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435" name="Picture 434">
            <a:extLst>
              <a:ext uri="{FF2B5EF4-FFF2-40B4-BE49-F238E27FC236}">
                <a16:creationId xmlns:a16="http://schemas.microsoft.com/office/drawing/2014/main" id="{F24568CF-2282-4703-A746-7621B6486D4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7061" y="6011456"/>
            <a:ext cx="3547925" cy="428943"/>
          </a:xfrm>
          <a:prstGeom prst="rect">
            <a:avLst/>
          </a:prstGeom>
        </p:spPr>
      </p:pic>
      <p:sp>
        <p:nvSpPr>
          <p:cNvPr id="438" name="Rectangle 437">
            <a:extLst>
              <a:ext uri="{FF2B5EF4-FFF2-40B4-BE49-F238E27FC236}">
                <a16:creationId xmlns:a16="http://schemas.microsoft.com/office/drawing/2014/main" id="{1E14E943-0B80-4EAF-83E1-21AC22C53993}"/>
              </a:ext>
            </a:extLst>
          </p:cNvPr>
          <p:cNvSpPr/>
          <p:nvPr userDrawn="1"/>
        </p:nvSpPr>
        <p:spPr>
          <a:xfrm>
            <a:off x="11815564" y="590321"/>
            <a:ext cx="58844" cy="16196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3" name="Circle: Hollow 429">
            <a:extLst>
              <a:ext uri="{FF2B5EF4-FFF2-40B4-BE49-F238E27FC236}">
                <a16:creationId xmlns:a16="http://schemas.microsoft.com/office/drawing/2014/main" id="{105B1B46-5B5A-6A48-909F-BD23D5F428BE}"/>
              </a:ext>
            </a:extLst>
          </p:cNvPr>
          <p:cNvSpPr/>
          <p:nvPr userDrawn="1"/>
        </p:nvSpPr>
        <p:spPr>
          <a:xfrm flipV="1">
            <a:off x="-1489805" y="944243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7E00245-F8EF-9844-97B2-F0BBC4524419}"/>
              </a:ext>
            </a:extLst>
          </p:cNvPr>
          <p:cNvSpPr/>
          <p:nvPr userDrawn="1"/>
        </p:nvSpPr>
        <p:spPr>
          <a:xfrm>
            <a:off x="11815564" y="590321"/>
            <a:ext cx="58844" cy="16196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5" name="Circle: Hollow 431">
            <a:extLst>
              <a:ext uri="{FF2B5EF4-FFF2-40B4-BE49-F238E27FC236}">
                <a16:creationId xmlns:a16="http://schemas.microsoft.com/office/drawing/2014/main" id="{720C4F33-3673-CC4A-A8C2-528A031C9873}"/>
              </a:ext>
            </a:extLst>
          </p:cNvPr>
          <p:cNvSpPr/>
          <p:nvPr userDrawn="1"/>
        </p:nvSpPr>
        <p:spPr>
          <a:xfrm flipV="1">
            <a:off x="-3190202" y="-719611"/>
            <a:ext cx="10738580" cy="10738578"/>
          </a:xfrm>
          <a:prstGeom prst="donut">
            <a:avLst>
              <a:gd name="adj" fmla="val 17386"/>
            </a:avLst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6" name="Circle: Hollow 98">
            <a:extLst>
              <a:ext uri="{FF2B5EF4-FFF2-40B4-BE49-F238E27FC236}">
                <a16:creationId xmlns:a16="http://schemas.microsoft.com/office/drawing/2014/main" id="{120E5B84-0E72-E944-A39F-0127B9C1D501}"/>
              </a:ext>
            </a:extLst>
          </p:cNvPr>
          <p:cNvSpPr/>
          <p:nvPr userDrawn="1"/>
        </p:nvSpPr>
        <p:spPr>
          <a:xfrm flipV="1">
            <a:off x="-3016981" y="-582034"/>
            <a:ext cx="10421082" cy="10421080"/>
          </a:xfrm>
          <a:prstGeom prst="donut">
            <a:avLst>
              <a:gd name="adj" fmla="val 16425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8" name="Freeform: Shape 428">
            <a:extLst>
              <a:ext uri="{FF2B5EF4-FFF2-40B4-BE49-F238E27FC236}">
                <a16:creationId xmlns:a16="http://schemas.microsoft.com/office/drawing/2014/main" id="{CF40E8C4-45D3-F245-A248-51D54B40CB71}"/>
              </a:ext>
            </a:extLst>
          </p:cNvPr>
          <p:cNvSpPr/>
          <p:nvPr userDrawn="1"/>
        </p:nvSpPr>
        <p:spPr>
          <a:xfrm>
            <a:off x="-3016981" y="-569731"/>
            <a:ext cx="10375356" cy="10394676"/>
          </a:xfrm>
          <a:custGeom>
            <a:avLst/>
            <a:gdLst>
              <a:gd name="connsiteX0" fmla="*/ 6202887 w 10375356"/>
              <a:gd name="connsiteY0" fmla="*/ 10086957 h 10394676"/>
              <a:gd name="connsiteX1" fmla="*/ 6713710 w 10375356"/>
              <a:gd name="connsiteY1" fmla="*/ 10086957 h 10394676"/>
              <a:gd name="connsiteX2" fmla="*/ 6713710 w 10375356"/>
              <a:gd name="connsiteY2" fmla="*/ 10187665 h 10394676"/>
              <a:gd name="connsiteX3" fmla="*/ 6709472 w 10375356"/>
              <a:gd name="connsiteY3" fmla="*/ 10188869 h 10394676"/>
              <a:gd name="connsiteX4" fmla="*/ 6202887 w 10375356"/>
              <a:gd name="connsiteY4" fmla="*/ 10188869 h 10394676"/>
              <a:gd name="connsiteX5" fmla="*/ 5634740 w 10375356"/>
              <a:gd name="connsiteY5" fmla="*/ 9974857 h 10394676"/>
              <a:gd name="connsiteX6" fmla="*/ 5471684 w 10375356"/>
              <a:gd name="connsiteY6" fmla="*/ 10137913 h 10394676"/>
              <a:gd name="connsiteX7" fmla="*/ 5634740 w 10375356"/>
              <a:gd name="connsiteY7" fmla="*/ 10300969 h 10394676"/>
              <a:gd name="connsiteX8" fmla="*/ 5797795 w 10375356"/>
              <a:gd name="connsiteY8" fmla="*/ 10137913 h 10394676"/>
              <a:gd name="connsiteX9" fmla="*/ 5634740 w 10375356"/>
              <a:gd name="connsiteY9" fmla="*/ 9974857 h 10394676"/>
              <a:gd name="connsiteX10" fmla="*/ 7232175 w 10375356"/>
              <a:gd name="connsiteY10" fmla="*/ 9881865 h 10394676"/>
              <a:gd name="connsiteX11" fmla="*/ 7334085 w 10375356"/>
              <a:gd name="connsiteY11" fmla="*/ 9881865 h 10394676"/>
              <a:gd name="connsiteX12" fmla="*/ 7334085 w 10375356"/>
              <a:gd name="connsiteY12" fmla="*/ 9956193 h 10394676"/>
              <a:gd name="connsiteX13" fmla="*/ 7238719 w 10375356"/>
              <a:gd name="connsiteY13" fmla="*/ 9999307 h 10394676"/>
              <a:gd name="connsiteX14" fmla="*/ 7232175 w 10375356"/>
              <a:gd name="connsiteY14" fmla="*/ 10001887 h 10394676"/>
              <a:gd name="connsiteX15" fmla="*/ 4751991 w 10375356"/>
              <a:gd name="connsiteY15" fmla="*/ 9881865 h 10394676"/>
              <a:gd name="connsiteX16" fmla="*/ 4853901 w 10375356"/>
              <a:gd name="connsiteY16" fmla="*/ 9881865 h 10394676"/>
              <a:gd name="connsiteX17" fmla="*/ 4853901 w 10375356"/>
              <a:gd name="connsiteY17" fmla="*/ 10290777 h 10394676"/>
              <a:gd name="connsiteX18" fmla="*/ 4751991 w 10375356"/>
              <a:gd name="connsiteY18" fmla="*/ 10290777 h 10394676"/>
              <a:gd name="connsiteX19" fmla="*/ 5636013 w 10375356"/>
              <a:gd name="connsiteY19" fmla="*/ 9872947 h 10394676"/>
              <a:gd name="connsiteX20" fmla="*/ 5900978 w 10375356"/>
              <a:gd name="connsiteY20" fmla="*/ 10137913 h 10394676"/>
              <a:gd name="connsiteX21" fmla="*/ 5739217 w 10375356"/>
              <a:gd name="connsiteY21" fmla="*/ 10382077 h 10394676"/>
              <a:gd name="connsiteX22" fmla="*/ 5738756 w 10375356"/>
              <a:gd name="connsiteY22" fmla="*/ 10382220 h 10394676"/>
              <a:gd name="connsiteX23" fmla="*/ 5574951 w 10375356"/>
              <a:gd name="connsiteY23" fmla="*/ 10394676 h 10394676"/>
              <a:gd name="connsiteX24" fmla="*/ 5532810 w 10375356"/>
              <a:gd name="connsiteY24" fmla="*/ 10381361 h 10394676"/>
              <a:gd name="connsiteX25" fmla="*/ 5371048 w 10375356"/>
              <a:gd name="connsiteY25" fmla="*/ 10137913 h 10394676"/>
              <a:gd name="connsiteX26" fmla="*/ 5636013 w 10375356"/>
              <a:gd name="connsiteY26" fmla="*/ 9872947 h 10394676"/>
              <a:gd name="connsiteX27" fmla="*/ 3978752 w 10375356"/>
              <a:gd name="connsiteY27" fmla="*/ 9872947 h 10394676"/>
              <a:gd name="connsiteX28" fmla="*/ 4243718 w 10375356"/>
              <a:gd name="connsiteY28" fmla="*/ 10137913 h 10394676"/>
              <a:gd name="connsiteX29" fmla="*/ 4222918 w 10375356"/>
              <a:gd name="connsiteY29" fmla="*/ 10241117 h 10394676"/>
              <a:gd name="connsiteX30" fmla="*/ 4179036 w 10375356"/>
              <a:gd name="connsiteY30" fmla="*/ 10306239 h 10394676"/>
              <a:gd name="connsiteX31" fmla="*/ 4160436 w 10375356"/>
              <a:gd name="connsiteY31" fmla="*/ 10302917 h 10394676"/>
              <a:gd name="connsiteX32" fmla="*/ 4056265 w 10375356"/>
              <a:gd name="connsiteY32" fmla="*/ 10278875 h 10394676"/>
              <a:gd name="connsiteX33" fmla="*/ 4094199 w 10375356"/>
              <a:gd name="connsiteY33" fmla="*/ 10253357 h 10394676"/>
              <a:gd name="connsiteX34" fmla="*/ 4141809 w 10375356"/>
              <a:gd name="connsiteY34" fmla="*/ 10137913 h 10394676"/>
              <a:gd name="connsiteX35" fmla="*/ 3978752 w 10375356"/>
              <a:gd name="connsiteY35" fmla="*/ 9974857 h 10394676"/>
              <a:gd name="connsiteX36" fmla="*/ 3815698 w 10375356"/>
              <a:gd name="connsiteY36" fmla="*/ 10137913 h 10394676"/>
              <a:gd name="connsiteX37" fmla="*/ 3828457 w 10375356"/>
              <a:gd name="connsiteY37" fmla="*/ 10201547 h 10394676"/>
              <a:gd name="connsiteX38" fmla="*/ 3845505 w 10375356"/>
              <a:gd name="connsiteY38" fmla="*/ 10226891 h 10394676"/>
              <a:gd name="connsiteX39" fmla="*/ 3724813 w 10375356"/>
              <a:gd name="connsiteY39" fmla="*/ 10192618 h 10394676"/>
              <a:gd name="connsiteX40" fmla="*/ 3713787 w 10375356"/>
              <a:gd name="connsiteY40" fmla="*/ 10137913 h 10394676"/>
              <a:gd name="connsiteX41" fmla="*/ 3978752 w 10375356"/>
              <a:gd name="connsiteY41" fmla="*/ 9872947 h 10394676"/>
              <a:gd name="connsiteX42" fmla="*/ 3155832 w 10375356"/>
              <a:gd name="connsiteY42" fmla="*/ 9872947 h 10394676"/>
              <a:gd name="connsiteX43" fmla="*/ 3399999 w 10375356"/>
              <a:gd name="connsiteY43" fmla="*/ 10034709 h 10394676"/>
              <a:gd name="connsiteX44" fmla="*/ 3411035 w 10375356"/>
              <a:gd name="connsiteY44" fmla="*/ 10089469 h 10394676"/>
              <a:gd name="connsiteX45" fmla="*/ 3280434 w 10375356"/>
              <a:gd name="connsiteY45" fmla="*/ 10037975 h 10394676"/>
              <a:gd name="connsiteX46" fmla="*/ 3270003 w 10375356"/>
              <a:gd name="connsiteY46" fmla="*/ 10022469 h 10394676"/>
              <a:gd name="connsiteX47" fmla="*/ 3154558 w 10375356"/>
              <a:gd name="connsiteY47" fmla="*/ 9974857 h 10394676"/>
              <a:gd name="connsiteX48" fmla="*/ 3136355 w 10375356"/>
              <a:gd name="connsiteY48" fmla="*/ 9978507 h 10394676"/>
              <a:gd name="connsiteX49" fmla="*/ 3005935 w 10375356"/>
              <a:gd name="connsiteY49" fmla="*/ 9919545 h 10394676"/>
              <a:gd name="connsiteX50" fmla="*/ 3007618 w 10375356"/>
              <a:gd name="connsiteY50" fmla="*/ 9918157 h 10394676"/>
              <a:gd name="connsiteX51" fmla="*/ 3155832 w 10375356"/>
              <a:gd name="connsiteY51" fmla="*/ 9872947 h 10394676"/>
              <a:gd name="connsiteX52" fmla="*/ 7851277 w 10375356"/>
              <a:gd name="connsiteY52" fmla="*/ 9262761 h 10394676"/>
              <a:gd name="connsiteX53" fmla="*/ 8362099 w 10375356"/>
              <a:gd name="connsiteY53" fmla="*/ 9262761 h 10394676"/>
              <a:gd name="connsiteX54" fmla="*/ 8362099 w 10375356"/>
              <a:gd name="connsiteY54" fmla="*/ 9346902 h 10394676"/>
              <a:gd name="connsiteX55" fmla="*/ 8339488 w 10375356"/>
              <a:gd name="connsiteY55" fmla="*/ 9364671 h 10394676"/>
              <a:gd name="connsiteX56" fmla="*/ 7851277 w 10375356"/>
              <a:gd name="connsiteY56" fmla="*/ 9364671 h 10394676"/>
              <a:gd name="connsiteX57" fmla="*/ 5379965 w 10375356"/>
              <a:gd name="connsiteY57" fmla="*/ 9262761 h 10394676"/>
              <a:gd name="connsiteX58" fmla="*/ 5890787 w 10375356"/>
              <a:gd name="connsiteY58" fmla="*/ 9262761 h 10394676"/>
              <a:gd name="connsiteX59" fmla="*/ 5890787 w 10375356"/>
              <a:gd name="connsiteY59" fmla="*/ 9364671 h 10394676"/>
              <a:gd name="connsiteX60" fmla="*/ 5379965 w 10375356"/>
              <a:gd name="connsiteY60" fmla="*/ 9364671 h 10394676"/>
              <a:gd name="connsiteX61" fmla="*/ 4546902 w 10375356"/>
              <a:gd name="connsiteY61" fmla="*/ 9262761 h 10394676"/>
              <a:gd name="connsiteX62" fmla="*/ 5057725 w 10375356"/>
              <a:gd name="connsiteY62" fmla="*/ 9262761 h 10394676"/>
              <a:gd name="connsiteX63" fmla="*/ 5057725 w 10375356"/>
              <a:gd name="connsiteY63" fmla="*/ 9364671 h 10394676"/>
              <a:gd name="connsiteX64" fmla="*/ 4546902 w 10375356"/>
              <a:gd name="connsiteY64" fmla="*/ 9364671 h 10394676"/>
              <a:gd name="connsiteX65" fmla="*/ 2899787 w 10375356"/>
              <a:gd name="connsiteY65" fmla="*/ 9262761 h 10394676"/>
              <a:gd name="connsiteX66" fmla="*/ 3410609 w 10375356"/>
              <a:gd name="connsiteY66" fmla="*/ 9262761 h 10394676"/>
              <a:gd name="connsiteX67" fmla="*/ 3410609 w 10375356"/>
              <a:gd name="connsiteY67" fmla="*/ 9364671 h 10394676"/>
              <a:gd name="connsiteX68" fmla="*/ 2899787 w 10375356"/>
              <a:gd name="connsiteY68" fmla="*/ 9364671 h 10394676"/>
              <a:gd name="connsiteX69" fmla="*/ 6450017 w 10375356"/>
              <a:gd name="connsiteY69" fmla="*/ 9150661 h 10394676"/>
              <a:gd name="connsiteX70" fmla="*/ 6286962 w 10375356"/>
              <a:gd name="connsiteY70" fmla="*/ 9313717 h 10394676"/>
              <a:gd name="connsiteX71" fmla="*/ 6450017 w 10375356"/>
              <a:gd name="connsiteY71" fmla="*/ 9476773 h 10394676"/>
              <a:gd name="connsiteX72" fmla="*/ 6613073 w 10375356"/>
              <a:gd name="connsiteY72" fmla="*/ 9313717 h 10394676"/>
              <a:gd name="connsiteX73" fmla="*/ 6450017 w 10375356"/>
              <a:gd name="connsiteY73" fmla="*/ 9150661 h 10394676"/>
              <a:gd name="connsiteX74" fmla="*/ 3978754 w 10375356"/>
              <a:gd name="connsiteY74" fmla="*/ 9150661 h 10394676"/>
              <a:gd name="connsiteX75" fmla="*/ 3815700 w 10375356"/>
              <a:gd name="connsiteY75" fmla="*/ 9313717 h 10394676"/>
              <a:gd name="connsiteX76" fmla="*/ 3978754 w 10375356"/>
              <a:gd name="connsiteY76" fmla="*/ 9476773 h 10394676"/>
              <a:gd name="connsiteX77" fmla="*/ 4141811 w 10375356"/>
              <a:gd name="connsiteY77" fmla="*/ 9313717 h 10394676"/>
              <a:gd name="connsiteX78" fmla="*/ 3978754 w 10375356"/>
              <a:gd name="connsiteY78" fmla="*/ 9150661 h 10394676"/>
              <a:gd name="connsiteX79" fmla="*/ 7232175 w 10375356"/>
              <a:gd name="connsiteY79" fmla="*/ 9057669 h 10394676"/>
              <a:gd name="connsiteX80" fmla="*/ 7334085 w 10375356"/>
              <a:gd name="connsiteY80" fmla="*/ 9057669 h 10394676"/>
              <a:gd name="connsiteX81" fmla="*/ 7334085 w 10375356"/>
              <a:gd name="connsiteY81" fmla="*/ 9568493 h 10394676"/>
              <a:gd name="connsiteX82" fmla="*/ 7232175 w 10375356"/>
              <a:gd name="connsiteY82" fmla="*/ 9568493 h 10394676"/>
              <a:gd name="connsiteX83" fmla="*/ 2280685 w 10375356"/>
              <a:gd name="connsiteY83" fmla="*/ 9057669 h 10394676"/>
              <a:gd name="connsiteX84" fmla="*/ 2382595 w 10375356"/>
              <a:gd name="connsiteY84" fmla="*/ 9057669 h 10394676"/>
              <a:gd name="connsiteX85" fmla="*/ 2382595 w 10375356"/>
              <a:gd name="connsiteY85" fmla="*/ 9568493 h 10394676"/>
              <a:gd name="connsiteX86" fmla="*/ 2374638 w 10375356"/>
              <a:gd name="connsiteY86" fmla="*/ 9568493 h 10394676"/>
              <a:gd name="connsiteX87" fmla="*/ 2297278 w 10375356"/>
              <a:gd name="connsiteY87" fmla="*/ 9518899 h 10394676"/>
              <a:gd name="connsiteX88" fmla="*/ 2280685 w 10375356"/>
              <a:gd name="connsiteY88" fmla="*/ 9507099 h 10394676"/>
              <a:gd name="connsiteX89" fmla="*/ 6450017 w 10375356"/>
              <a:gd name="connsiteY89" fmla="*/ 9048751 h 10394676"/>
              <a:gd name="connsiteX90" fmla="*/ 6714982 w 10375356"/>
              <a:gd name="connsiteY90" fmla="*/ 9313717 h 10394676"/>
              <a:gd name="connsiteX91" fmla="*/ 6450017 w 10375356"/>
              <a:gd name="connsiteY91" fmla="*/ 9578681 h 10394676"/>
              <a:gd name="connsiteX92" fmla="*/ 6185052 w 10375356"/>
              <a:gd name="connsiteY92" fmla="*/ 9313717 h 10394676"/>
              <a:gd name="connsiteX93" fmla="*/ 6450017 w 10375356"/>
              <a:gd name="connsiteY93" fmla="*/ 9048751 h 10394676"/>
              <a:gd name="connsiteX94" fmla="*/ 3978754 w 10375356"/>
              <a:gd name="connsiteY94" fmla="*/ 9048751 h 10394676"/>
              <a:gd name="connsiteX95" fmla="*/ 4243720 w 10375356"/>
              <a:gd name="connsiteY95" fmla="*/ 9313717 h 10394676"/>
              <a:gd name="connsiteX96" fmla="*/ 3978754 w 10375356"/>
              <a:gd name="connsiteY96" fmla="*/ 9578681 h 10394676"/>
              <a:gd name="connsiteX97" fmla="*/ 3713789 w 10375356"/>
              <a:gd name="connsiteY97" fmla="*/ 9313717 h 10394676"/>
              <a:gd name="connsiteX98" fmla="*/ 3978754 w 10375356"/>
              <a:gd name="connsiteY98" fmla="*/ 9048751 h 10394676"/>
              <a:gd name="connsiteX99" fmla="*/ 5676776 w 10375356"/>
              <a:gd name="connsiteY99" fmla="*/ 8665264 h 10394676"/>
              <a:gd name="connsiteX100" fmla="*/ 5676776 w 10375356"/>
              <a:gd name="connsiteY100" fmla="*/ 8745569 h 10394676"/>
              <a:gd name="connsiteX101" fmla="*/ 5574867 w 10375356"/>
              <a:gd name="connsiteY101" fmla="*/ 8745569 h 10394676"/>
              <a:gd name="connsiteX102" fmla="*/ 5574867 w 10375356"/>
              <a:gd name="connsiteY102" fmla="*/ 8678214 h 10394676"/>
              <a:gd name="connsiteX103" fmla="*/ 3918880 w 10375356"/>
              <a:gd name="connsiteY103" fmla="*/ 8449859 h 10394676"/>
              <a:gd name="connsiteX104" fmla="*/ 4007509 w 10375356"/>
              <a:gd name="connsiteY104" fmla="*/ 8484804 h 10394676"/>
              <a:gd name="connsiteX105" fmla="*/ 4020789 w 10375356"/>
              <a:gd name="connsiteY105" fmla="*/ 8489298 h 10394676"/>
              <a:gd name="connsiteX106" fmla="*/ 4020789 w 10375356"/>
              <a:gd name="connsiteY106" fmla="*/ 8745569 h 10394676"/>
              <a:gd name="connsiteX107" fmla="*/ 3918880 w 10375356"/>
              <a:gd name="connsiteY107" fmla="*/ 8745569 h 10394676"/>
              <a:gd name="connsiteX108" fmla="*/ 7018165 w 10375356"/>
              <a:gd name="connsiteY108" fmla="*/ 8438567 h 10394676"/>
              <a:gd name="connsiteX109" fmla="*/ 7528988 w 10375356"/>
              <a:gd name="connsiteY109" fmla="*/ 8438567 h 10394676"/>
              <a:gd name="connsiteX110" fmla="*/ 7528988 w 10375356"/>
              <a:gd name="connsiteY110" fmla="*/ 8540477 h 10394676"/>
              <a:gd name="connsiteX111" fmla="*/ 7018165 w 10375356"/>
              <a:gd name="connsiteY111" fmla="*/ 8540477 h 10394676"/>
              <a:gd name="connsiteX112" fmla="*/ 6530840 w 10375356"/>
              <a:gd name="connsiteY112" fmla="*/ 8438567 h 10394676"/>
              <a:gd name="connsiteX113" fmla="*/ 6697148 w 10375356"/>
              <a:gd name="connsiteY113" fmla="*/ 8438567 h 10394676"/>
              <a:gd name="connsiteX114" fmla="*/ 6697148 w 10375356"/>
              <a:gd name="connsiteY114" fmla="*/ 8540477 h 10394676"/>
              <a:gd name="connsiteX115" fmla="*/ 6248661 w 10375356"/>
              <a:gd name="connsiteY115" fmla="*/ 8540477 h 10394676"/>
              <a:gd name="connsiteX116" fmla="*/ 6251001 w 10375356"/>
              <a:gd name="connsiteY116" fmla="*/ 8539813 h 10394676"/>
              <a:gd name="connsiteX117" fmla="*/ 6413573 w 10375356"/>
              <a:gd name="connsiteY117" fmla="*/ 8484804 h 10394676"/>
              <a:gd name="connsiteX118" fmla="*/ 2066673 w 10375356"/>
              <a:gd name="connsiteY118" fmla="*/ 8438567 h 10394676"/>
              <a:gd name="connsiteX119" fmla="*/ 2577496 w 10375356"/>
              <a:gd name="connsiteY119" fmla="*/ 8438567 h 10394676"/>
              <a:gd name="connsiteX120" fmla="*/ 2577496 w 10375356"/>
              <a:gd name="connsiteY120" fmla="*/ 8540477 h 10394676"/>
              <a:gd name="connsiteX121" fmla="*/ 2066673 w 10375356"/>
              <a:gd name="connsiteY121" fmla="*/ 8540477 h 10394676"/>
              <a:gd name="connsiteX122" fmla="*/ 1234837 w 10375356"/>
              <a:gd name="connsiteY122" fmla="*/ 8438567 h 10394676"/>
              <a:gd name="connsiteX123" fmla="*/ 1745660 w 10375356"/>
              <a:gd name="connsiteY123" fmla="*/ 8438567 h 10394676"/>
              <a:gd name="connsiteX124" fmla="*/ 1745660 w 10375356"/>
              <a:gd name="connsiteY124" fmla="*/ 8540477 h 10394676"/>
              <a:gd name="connsiteX125" fmla="*/ 1234837 w 10375356"/>
              <a:gd name="connsiteY125" fmla="*/ 8540477 h 10394676"/>
              <a:gd name="connsiteX126" fmla="*/ 8870376 w 10375356"/>
              <a:gd name="connsiteY126" fmla="*/ 8234747 h 10394676"/>
              <a:gd name="connsiteX127" fmla="*/ 8972285 w 10375356"/>
              <a:gd name="connsiteY127" fmla="*/ 8234747 h 10394676"/>
              <a:gd name="connsiteX128" fmla="*/ 8972285 w 10375356"/>
              <a:gd name="connsiteY128" fmla="*/ 8745569 h 10394676"/>
              <a:gd name="connsiteX129" fmla="*/ 8870376 w 10375356"/>
              <a:gd name="connsiteY129" fmla="*/ 8745569 h 10394676"/>
              <a:gd name="connsiteX130" fmla="*/ 8046180 w 10375356"/>
              <a:gd name="connsiteY130" fmla="*/ 8234747 h 10394676"/>
              <a:gd name="connsiteX131" fmla="*/ 8148089 w 10375356"/>
              <a:gd name="connsiteY131" fmla="*/ 8234747 h 10394676"/>
              <a:gd name="connsiteX132" fmla="*/ 8148089 w 10375356"/>
              <a:gd name="connsiteY132" fmla="*/ 8745569 h 10394676"/>
              <a:gd name="connsiteX133" fmla="*/ 8046180 w 10375356"/>
              <a:gd name="connsiteY133" fmla="*/ 8745569 h 10394676"/>
              <a:gd name="connsiteX134" fmla="*/ 3094685 w 10375356"/>
              <a:gd name="connsiteY134" fmla="*/ 8234747 h 10394676"/>
              <a:gd name="connsiteX135" fmla="*/ 3196595 w 10375356"/>
              <a:gd name="connsiteY135" fmla="*/ 8234747 h 10394676"/>
              <a:gd name="connsiteX136" fmla="*/ 3196595 w 10375356"/>
              <a:gd name="connsiteY136" fmla="*/ 8745569 h 10394676"/>
              <a:gd name="connsiteX137" fmla="*/ 3094685 w 10375356"/>
              <a:gd name="connsiteY137" fmla="*/ 8745569 h 10394676"/>
              <a:gd name="connsiteX138" fmla="*/ 9489477 w 10375356"/>
              <a:gd name="connsiteY138" fmla="*/ 7615645 h 10394676"/>
              <a:gd name="connsiteX139" fmla="*/ 9824110 w 10375356"/>
              <a:gd name="connsiteY139" fmla="*/ 7615645 h 10394676"/>
              <a:gd name="connsiteX140" fmla="*/ 9792198 w 10375356"/>
              <a:gd name="connsiteY140" fmla="*/ 7681890 h 10394676"/>
              <a:gd name="connsiteX141" fmla="*/ 9770531 w 10375356"/>
              <a:gd name="connsiteY141" fmla="*/ 7717555 h 10394676"/>
              <a:gd name="connsiteX142" fmla="*/ 9489477 w 10375356"/>
              <a:gd name="connsiteY142" fmla="*/ 7717555 h 10394676"/>
              <a:gd name="connsiteX143" fmla="*/ 8666557 w 10375356"/>
              <a:gd name="connsiteY143" fmla="*/ 7615645 h 10394676"/>
              <a:gd name="connsiteX144" fmla="*/ 9177379 w 10375356"/>
              <a:gd name="connsiteY144" fmla="*/ 7615645 h 10394676"/>
              <a:gd name="connsiteX145" fmla="*/ 9177379 w 10375356"/>
              <a:gd name="connsiteY145" fmla="*/ 7717555 h 10394676"/>
              <a:gd name="connsiteX146" fmla="*/ 8666557 w 10375356"/>
              <a:gd name="connsiteY146" fmla="*/ 7717555 h 10394676"/>
              <a:gd name="connsiteX147" fmla="*/ 2322721 w 10375356"/>
              <a:gd name="connsiteY147" fmla="*/ 7503545 h 10394676"/>
              <a:gd name="connsiteX148" fmla="*/ 2159665 w 10375356"/>
              <a:gd name="connsiteY148" fmla="*/ 7666599 h 10394676"/>
              <a:gd name="connsiteX149" fmla="*/ 2322721 w 10375356"/>
              <a:gd name="connsiteY149" fmla="*/ 7829655 h 10394676"/>
              <a:gd name="connsiteX150" fmla="*/ 2485776 w 10375356"/>
              <a:gd name="connsiteY150" fmla="*/ 7666599 h 10394676"/>
              <a:gd name="connsiteX151" fmla="*/ 2322721 w 10375356"/>
              <a:gd name="connsiteY151" fmla="*/ 7503545 h 10394676"/>
              <a:gd name="connsiteX152" fmla="*/ 8046180 w 10375356"/>
              <a:gd name="connsiteY152" fmla="*/ 7410553 h 10394676"/>
              <a:gd name="connsiteX153" fmla="*/ 8148089 w 10375356"/>
              <a:gd name="connsiteY153" fmla="*/ 7410553 h 10394676"/>
              <a:gd name="connsiteX154" fmla="*/ 8148089 w 10375356"/>
              <a:gd name="connsiteY154" fmla="*/ 7921375 h 10394676"/>
              <a:gd name="connsiteX155" fmla="*/ 8046180 w 10375356"/>
              <a:gd name="connsiteY155" fmla="*/ 7921375 h 10394676"/>
              <a:gd name="connsiteX156" fmla="*/ 1447573 w 10375356"/>
              <a:gd name="connsiteY156" fmla="*/ 7410553 h 10394676"/>
              <a:gd name="connsiteX157" fmla="*/ 1549483 w 10375356"/>
              <a:gd name="connsiteY157" fmla="*/ 7410553 h 10394676"/>
              <a:gd name="connsiteX158" fmla="*/ 1549483 w 10375356"/>
              <a:gd name="connsiteY158" fmla="*/ 7921375 h 10394676"/>
              <a:gd name="connsiteX159" fmla="*/ 1447573 w 10375356"/>
              <a:gd name="connsiteY159" fmla="*/ 7921375 h 10394676"/>
              <a:gd name="connsiteX160" fmla="*/ 2322721 w 10375356"/>
              <a:gd name="connsiteY160" fmla="*/ 7401633 h 10394676"/>
              <a:gd name="connsiteX161" fmla="*/ 2587686 w 10375356"/>
              <a:gd name="connsiteY161" fmla="*/ 7666599 h 10394676"/>
              <a:gd name="connsiteX162" fmla="*/ 2322721 w 10375356"/>
              <a:gd name="connsiteY162" fmla="*/ 7931565 h 10394676"/>
              <a:gd name="connsiteX163" fmla="*/ 2057755 w 10375356"/>
              <a:gd name="connsiteY163" fmla="*/ 7666599 h 10394676"/>
              <a:gd name="connsiteX164" fmla="*/ 2322721 w 10375356"/>
              <a:gd name="connsiteY164" fmla="*/ 7401633 h 10394676"/>
              <a:gd name="connsiteX165" fmla="*/ 674333 w 10375356"/>
              <a:gd name="connsiteY165" fmla="*/ 7401633 h 10394676"/>
              <a:gd name="connsiteX166" fmla="*/ 939299 w 10375356"/>
              <a:gd name="connsiteY166" fmla="*/ 7666599 h 10394676"/>
              <a:gd name="connsiteX167" fmla="*/ 777537 w 10375356"/>
              <a:gd name="connsiteY167" fmla="*/ 7910765 h 10394676"/>
              <a:gd name="connsiteX168" fmla="*/ 769452 w 10375356"/>
              <a:gd name="connsiteY168" fmla="*/ 7913271 h 10394676"/>
              <a:gd name="connsiteX169" fmla="*/ 713980 w 10375356"/>
              <a:gd name="connsiteY169" fmla="*/ 7821961 h 10394676"/>
              <a:gd name="connsiteX170" fmla="*/ 739241 w 10375356"/>
              <a:gd name="connsiteY170" fmla="*/ 7816897 h 10394676"/>
              <a:gd name="connsiteX171" fmla="*/ 838662 w 10375356"/>
              <a:gd name="connsiteY171" fmla="*/ 7666599 h 10394676"/>
              <a:gd name="connsiteX172" fmla="*/ 675607 w 10375356"/>
              <a:gd name="connsiteY172" fmla="*/ 7503545 h 10394676"/>
              <a:gd name="connsiteX173" fmla="*/ 611973 w 10375356"/>
              <a:gd name="connsiteY173" fmla="*/ 7516304 h 10394676"/>
              <a:gd name="connsiteX174" fmla="*/ 564501 w 10375356"/>
              <a:gd name="connsiteY174" fmla="*/ 7548238 h 10394676"/>
              <a:gd name="connsiteX175" fmla="*/ 518632 w 10375356"/>
              <a:gd name="connsiteY175" fmla="*/ 7453019 h 10394676"/>
              <a:gd name="connsiteX176" fmla="*/ 526119 w 10375356"/>
              <a:gd name="connsiteY176" fmla="*/ 7446844 h 10394676"/>
              <a:gd name="connsiteX177" fmla="*/ 674333 w 10375356"/>
              <a:gd name="connsiteY177" fmla="*/ 7401633 h 10394676"/>
              <a:gd name="connsiteX178" fmla="*/ 8148089 w 10375356"/>
              <a:gd name="connsiteY178" fmla="*/ 7094869 h 10394676"/>
              <a:gd name="connsiteX179" fmla="*/ 8148089 w 10375356"/>
              <a:gd name="connsiteY179" fmla="*/ 7097179 h 10394676"/>
              <a:gd name="connsiteX180" fmla="*/ 8146686 w 10375356"/>
              <a:gd name="connsiteY180" fmla="*/ 7097179 h 10394676"/>
              <a:gd name="connsiteX181" fmla="*/ 8665281 w 10375356"/>
              <a:gd name="connsiteY181" fmla="*/ 6791449 h 10394676"/>
              <a:gd name="connsiteX182" fmla="*/ 9176104 w 10375356"/>
              <a:gd name="connsiteY182" fmla="*/ 6791449 h 10394676"/>
              <a:gd name="connsiteX183" fmla="*/ 9176104 w 10375356"/>
              <a:gd name="connsiteY183" fmla="*/ 6893357 h 10394676"/>
              <a:gd name="connsiteX184" fmla="*/ 8665281 w 10375356"/>
              <a:gd name="connsiteY184" fmla="*/ 6893357 h 10394676"/>
              <a:gd name="connsiteX185" fmla="*/ 2066681 w 10375356"/>
              <a:gd name="connsiteY185" fmla="*/ 6791449 h 10394676"/>
              <a:gd name="connsiteX186" fmla="*/ 2098040 w 10375356"/>
              <a:gd name="connsiteY186" fmla="*/ 6791449 h 10394676"/>
              <a:gd name="connsiteX187" fmla="*/ 2133958 w 10375356"/>
              <a:gd name="connsiteY187" fmla="*/ 6866010 h 10394676"/>
              <a:gd name="connsiteX188" fmla="*/ 2150572 w 10375356"/>
              <a:gd name="connsiteY188" fmla="*/ 6893357 h 10394676"/>
              <a:gd name="connsiteX189" fmla="*/ 2066681 w 10375356"/>
              <a:gd name="connsiteY189" fmla="*/ 6893357 h 10394676"/>
              <a:gd name="connsiteX190" fmla="*/ 419562 w 10375356"/>
              <a:gd name="connsiteY190" fmla="*/ 6791449 h 10394676"/>
              <a:gd name="connsiteX191" fmla="*/ 930385 w 10375356"/>
              <a:gd name="connsiteY191" fmla="*/ 6791449 h 10394676"/>
              <a:gd name="connsiteX192" fmla="*/ 930385 w 10375356"/>
              <a:gd name="connsiteY192" fmla="*/ 6893357 h 10394676"/>
              <a:gd name="connsiteX193" fmla="*/ 419562 w 10375356"/>
              <a:gd name="connsiteY193" fmla="*/ 6893357 h 10394676"/>
              <a:gd name="connsiteX194" fmla="*/ 9745526 w 10375356"/>
              <a:gd name="connsiteY194" fmla="*/ 6679349 h 10394676"/>
              <a:gd name="connsiteX195" fmla="*/ 9582469 w 10375356"/>
              <a:gd name="connsiteY195" fmla="*/ 6842405 h 10394676"/>
              <a:gd name="connsiteX196" fmla="*/ 9745526 w 10375356"/>
              <a:gd name="connsiteY196" fmla="*/ 7005461 h 10394676"/>
              <a:gd name="connsiteX197" fmla="*/ 9908582 w 10375356"/>
              <a:gd name="connsiteY197" fmla="*/ 6842405 h 10394676"/>
              <a:gd name="connsiteX198" fmla="*/ 9745526 w 10375356"/>
              <a:gd name="connsiteY198" fmla="*/ 6679349 h 10394676"/>
              <a:gd name="connsiteX199" fmla="*/ 1498533 w 10375356"/>
              <a:gd name="connsiteY199" fmla="*/ 6679349 h 10394676"/>
              <a:gd name="connsiteX200" fmla="*/ 1335477 w 10375356"/>
              <a:gd name="connsiteY200" fmla="*/ 6842405 h 10394676"/>
              <a:gd name="connsiteX201" fmla="*/ 1498533 w 10375356"/>
              <a:gd name="connsiteY201" fmla="*/ 7005461 h 10394676"/>
              <a:gd name="connsiteX202" fmla="*/ 1661588 w 10375356"/>
              <a:gd name="connsiteY202" fmla="*/ 6842405 h 10394676"/>
              <a:gd name="connsiteX203" fmla="*/ 1498533 w 10375356"/>
              <a:gd name="connsiteY203" fmla="*/ 6679349 h 10394676"/>
              <a:gd name="connsiteX204" fmla="*/ 9744252 w 10375356"/>
              <a:gd name="connsiteY204" fmla="*/ 6577439 h 10394676"/>
              <a:gd name="connsiteX205" fmla="*/ 10009217 w 10375356"/>
              <a:gd name="connsiteY205" fmla="*/ 6842405 h 10394676"/>
              <a:gd name="connsiteX206" fmla="*/ 9744252 w 10375356"/>
              <a:gd name="connsiteY206" fmla="*/ 7107369 h 10394676"/>
              <a:gd name="connsiteX207" fmla="*/ 9479286 w 10375356"/>
              <a:gd name="connsiteY207" fmla="*/ 6842405 h 10394676"/>
              <a:gd name="connsiteX208" fmla="*/ 9744252 w 10375356"/>
              <a:gd name="connsiteY208" fmla="*/ 6577439 h 10394676"/>
              <a:gd name="connsiteX209" fmla="*/ 1499807 w 10375356"/>
              <a:gd name="connsiteY209" fmla="*/ 6577439 h 10394676"/>
              <a:gd name="connsiteX210" fmla="*/ 1764771 w 10375356"/>
              <a:gd name="connsiteY210" fmla="*/ 6842405 h 10394676"/>
              <a:gd name="connsiteX211" fmla="*/ 1499807 w 10375356"/>
              <a:gd name="connsiteY211" fmla="*/ 7107369 h 10394676"/>
              <a:gd name="connsiteX212" fmla="*/ 1234841 w 10375356"/>
              <a:gd name="connsiteY212" fmla="*/ 6842405 h 10394676"/>
              <a:gd name="connsiteX213" fmla="*/ 1499807 w 10375356"/>
              <a:gd name="connsiteY213" fmla="*/ 6577439 h 10394676"/>
              <a:gd name="connsiteX214" fmla="*/ 8921331 w 10375356"/>
              <a:gd name="connsiteY214" fmla="*/ 5855153 h 10394676"/>
              <a:gd name="connsiteX215" fmla="*/ 8758274 w 10375356"/>
              <a:gd name="connsiteY215" fmla="*/ 6018209 h 10394676"/>
              <a:gd name="connsiteX216" fmla="*/ 8921331 w 10375356"/>
              <a:gd name="connsiteY216" fmla="*/ 6181265 h 10394676"/>
              <a:gd name="connsiteX217" fmla="*/ 9084385 w 10375356"/>
              <a:gd name="connsiteY217" fmla="*/ 6018209 h 10394676"/>
              <a:gd name="connsiteX218" fmla="*/ 8921331 w 10375356"/>
              <a:gd name="connsiteY218" fmla="*/ 5855153 h 10394676"/>
              <a:gd name="connsiteX219" fmla="*/ 674337 w 10375356"/>
              <a:gd name="connsiteY219" fmla="*/ 5855153 h 10394676"/>
              <a:gd name="connsiteX220" fmla="*/ 511282 w 10375356"/>
              <a:gd name="connsiteY220" fmla="*/ 6018209 h 10394676"/>
              <a:gd name="connsiteX221" fmla="*/ 674337 w 10375356"/>
              <a:gd name="connsiteY221" fmla="*/ 6181265 h 10394676"/>
              <a:gd name="connsiteX222" fmla="*/ 837393 w 10375356"/>
              <a:gd name="connsiteY222" fmla="*/ 6018209 h 10394676"/>
              <a:gd name="connsiteX223" fmla="*/ 674337 w 10375356"/>
              <a:gd name="connsiteY223" fmla="*/ 5855153 h 10394676"/>
              <a:gd name="connsiteX224" fmla="*/ 10375356 w 10375356"/>
              <a:gd name="connsiteY224" fmla="*/ 5854333 h 10394676"/>
              <a:gd name="connsiteX225" fmla="*/ 10334572 w 10375356"/>
              <a:gd name="connsiteY225" fmla="*/ 6121561 h 10394676"/>
              <a:gd name="connsiteX226" fmla="*/ 10334472 w 10375356"/>
              <a:gd name="connsiteY226" fmla="*/ 6121413 h 10394676"/>
              <a:gd name="connsiteX227" fmla="*/ 10313672 w 10375356"/>
              <a:gd name="connsiteY227" fmla="*/ 6018209 h 10394676"/>
              <a:gd name="connsiteX228" fmla="*/ 10334472 w 10375356"/>
              <a:gd name="connsiteY228" fmla="*/ 5915005 h 10394676"/>
              <a:gd name="connsiteX229" fmla="*/ 9694571 w 10375356"/>
              <a:gd name="connsiteY229" fmla="*/ 5763433 h 10394676"/>
              <a:gd name="connsiteX230" fmla="*/ 9796481 w 10375356"/>
              <a:gd name="connsiteY230" fmla="*/ 5763433 h 10394676"/>
              <a:gd name="connsiteX231" fmla="*/ 9796481 w 10375356"/>
              <a:gd name="connsiteY231" fmla="*/ 6274257 h 10394676"/>
              <a:gd name="connsiteX232" fmla="*/ 9694571 w 10375356"/>
              <a:gd name="connsiteY232" fmla="*/ 6274257 h 10394676"/>
              <a:gd name="connsiteX233" fmla="*/ 1447575 w 10375356"/>
              <a:gd name="connsiteY233" fmla="*/ 5763433 h 10394676"/>
              <a:gd name="connsiteX234" fmla="*/ 1549485 w 10375356"/>
              <a:gd name="connsiteY234" fmla="*/ 5763433 h 10394676"/>
              <a:gd name="connsiteX235" fmla="*/ 1549485 w 10375356"/>
              <a:gd name="connsiteY235" fmla="*/ 6274257 h 10394676"/>
              <a:gd name="connsiteX236" fmla="*/ 1447575 w 10375356"/>
              <a:gd name="connsiteY236" fmla="*/ 6274257 h 10394676"/>
              <a:gd name="connsiteX237" fmla="*/ 8922604 w 10375356"/>
              <a:gd name="connsiteY237" fmla="*/ 5753243 h 10394676"/>
              <a:gd name="connsiteX238" fmla="*/ 9187569 w 10375356"/>
              <a:gd name="connsiteY238" fmla="*/ 6018209 h 10394676"/>
              <a:gd name="connsiteX239" fmla="*/ 8922604 w 10375356"/>
              <a:gd name="connsiteY239" fmla="*/ 6283173 h 10394676"/>
              <a:gd name="connsiteX240" fmla="*/ 8657638 w 10375356"/>
              <a:gd name="connsiteY240" fmla="*/ 6018209 h 10394676"/>
              <a:gd name="connsiteX241" fmla="*/ 8922604 w 10375356"/>
              <a:gd name="connsiteY241" fmla="*/ 5753243 h 10394676"/>
              <a:gd name="connsiteX242" fmla="*/ 675610 w 10375356"/>
              <a:gd name="connsiteY242" fmla="*/ 5753243 h 10394676"/>
              <a:gd name="connsiteX243" fmla="*/ 940577 w 10375356"/>
              <a:gd name="connsiteY243" fmla="*/ 6018209 h 10394676"/>
              <a:gd name="connsiteX244" fmla="*/ 675610 w 10375356"/>
              <a:gd name="connsiteY244" fmla="*/ 6283173 h 10394676"/>
              <a:gd name="connsiteX245" fmla="*/ 410646 w 10375356"/>
              <a:gd name="connsiteY245" fmla="*/ 6018209 h 10394676"/>
              <a:gd name="connsiteX246" fmla="*/ 675610 w 10375356"/>
              <a:gd name="connsiteY246" fmla="*/ 5753243 h 10394676"/>
              <a:gd name="connsiteX247" fmla="*/ 9489477 w 10375356"/>
              <a:gd name="connsiteY247" fmla="*/ 5143057 h 10394676"/>
              <a:gd name="connsiteX248" fmla="*/ 10000300 w 10375356"/>
              <a:gd name="connsiteY248" fmla="*/ 5143057 h 10394676"/>
              <a:gd name="connsiteX249" fmla="*/ 10000300 w 10375356"/>
              <a:gd name="connsiteY249" fmla="*/ 5244969 h 10394676"/>
              <a:gd name="connsiteX250" fmla="*/ 9489477 w 10375356"/>
              <a:gd name="connsiteY250" fmla="*/ 5244969 h 10394676"/>
              <a:gd name="connsiteX251" fmla="*/ 8706634 w 10375356"/>
              <a:gd name="connsiteY251" fmla="*/ 5143057 h 10394676"/>
              <a:gd name="connsiteX252" fmla="*/ 9176104 w 10375356"/>
              <a:gd name="connsiteY252" fmla="*/ 5143057 h 10394676"/>
              <a:gd name="connsiteX253" fmla="*/ 9176104 w 10375356"/>
              <a:gd name="connsiteY253" fmla="*/ 5244969 h 10394676"/>
              <a:gd name="connsiteX254" fmla="*/ 8707060 w 10375356"/>
              <a:gd name="connsiteY254" fmla="*/ 5244969 h 10394676"/>
              <a:gd name="connsiteX255" fmla="*/ 8709420 w 10375356"/>
              <a:gd name="connsiteY255" fmla="*/ 5198237 h 10394676"/>
              <a:gd name="connsiteX256" fmla="*/ 1242485 w 10375356"/>
              <a:gd name="connsiteY256" fmla="*/ 5143057 h 10394676"/>
              <a:gd name="connsiteX257" fmla="*/ 1714449 w 10375356"/>
              <a:gd name="connsiteY257" fmla="*/ 5143057 h 10394676"/>
              <a:gd name="connsiteX258" fmla="*/ 1711662 w 10375356"/>
              <a:gd name="connsiteY258" fmla="*/ 5198237 h 10394676"/>
              <a:gd name="connsiteX259" fmla="*/ 1714022 w 10375356"/>
              <a:gd name="connsiteY259" fmla="*/ 5244969 h 10394676"/>
              <a:gd name="connsiteX260" fmla="*/ 1242485 w 10375356"/>
              <a:gd name="connsiteY260" fmla="*/ 5244969 h 10394676"/>
              <a:gd name="connsiteX261" fmla="*/ 2787 w 10375356"/>
              <a:gd name="connsiteY261" fmla="*/ 5143057 h 10394676"/>
              <a:gd name="connsiteX262" fmla="*/ 97302 w 10375356"/>
              <a:gd name="connsiteY262" fmla="*/ 5143057 h 10394676"/>
              <a:gd name="connsiteX263" fmla="*/ 97302 w 10375356"/>
              <a:gd name="connsiteY263" fmla="*/ 5244969 h 10394676"/>
              <a:gd name="connsiteX264" fmla="*/ 2360 w 10375356"/>
              <a:gd name="connsiteY264" fmla="*/ 5244969 h 10394676"/>
              <a:gd name="connsiteX265" fmla="*/ 0 w 10375356"/>
              <a:gd name="connsiteY265" fmla="*/ 5198237 h 10394676"/>
              <a:gd name="connsiteX266" fmla="*/ 623389 w 10375356"/>
              <a:gd name="connsiteY266" fmla="*/ 4939239 h 10394676"/>
              <a:gd name="connsiteX267" fmla="*/ 725299 w 10375356"/>
              <a:gd name="connsiteY267" fmla="*/ 4939239 h 10394676"/>
              <a:gd name="connsiteX268" fmla="*/ 725299 w 10375356"/>
              <a:gd name="connsiteY268" fmla="*/ 5450061 h 10394676"/>
              <a:gd name="connsiteX269" fmla="*/ 623389 w 10375356"/>
              <a:gd name="connsiteY269" fmla="*/ 5450061 h 10394676"/>
              <a:gd name="connsiteX270" fmla="*/ 86723 w 10375356"/>
              <a:gd name="connsiteY270" fmla="*/ 4273524 h 10394676"/>
              <a:gd name="connsiteX271" fmla="*/ 106218 w 10375356"/>
              <a:gd name="connsiteY271" fmla="*/ 4371093 h 10394676"/>
              <a:gd name="connsiteX272" fmla="*/ 85418 w 10375356"/>
              <a:gd name="connsiteY272" fmla="*/ 4474296 h 10394676"/>
              <a:gd name="connsiteX273" fmla="*/ 47492 w 10375356"/>
              <a:gd name="connsiteY273" fmla="*/ 4530579 h 10394676"/>
              <a:gd name="connsiteX274" fmla="*/ 9745526 w 10375356"/>
              <a:gd name="connsiteY274" fmla="*/ 4208037 h 10394676"/>
              <a:gd name="connsiteX275" fmla="*/ 9582469 w 10375356"/>
              <a:gd name="connsiteY275" fmla="*/ 4371093 h 10394676"/>
              <a:gd name="connsiteX276" fmla="*/ 9745526 w 10375356"/>
              <a:gd name="connsiteY276" fmla="*/ 4534147 h 10394676"/>
              <a:gd name="connsiteX277" fmla="*/ 9908582 w 10375356"/>
              <a:gd name="connsiteY277" fmla="*/ 4371093 h 10394676"/>
              <a:gd name="connsiteX278" fmla="*/ 9745526 w 10375356"/>
              <a:gd name="connsiteY278" fmla="*/ 4208037 h 10394676"/>
              <a:gd name="connsiteX279" fmla="*/ 1498539 w 10375356"/>
              <a:gd name="connsiteY279" fmla="*/ 4208037 h 10394676"/>
              <a:gd name="connsiteX280" fmla="*/ 1335482 w 10375356"/>
              <a:gd name="connsiteY280" fmla="*/ 4371093 h 10394676"/>
              <a:gd name="connsiteX281" fmla="*/ 1498539 w 10375356"/>
              <a:gd name="connsiteY281" fmla="*/ 4534147 h 10394676"/>
              <a:gd name="connsiteX282" fmla="*/ 1661593 w 10375356"/>
              <a:gd name="connsiteY282" fmla="*/ 4371093 h 10394676"/>
              <a:gd name="connsiteX283" fmla="*/ 1498539 w 10375356"/>
              <a:gd name="connsiteY283" fmla="*/ 4208037 h 10394676"/>
              <a:gd name="connsiteX284" fmla="*/ 8870376 w 10375356"/>
              <a:gd name="connsiteY284" fmla="*/ 4115043 h 10394676"/>
              <a:gd name="connsiteX285" fmla="*/ 8972285 w 10375356"/>
              <a:gd name="connsiteY285" fmla="*/ 4115043 h 10394676"/>
              <a:gd name="connsiteX286" fmla="*/ 8972285 w 10375356"/>
              <a:gd name="connsiteY286" fmla="*/ 4625865 h 10394676"/>
              <a:gd name="connsiteX287" fmla="*/ 8870376 w 10375356"/>
              <a:gd name="connsiteY287" fmla="*/ 4625865 h 10394676"/>
              <a:gd name="connsiteX288" fmla="*/ 623387 w 10375356"/>
              <a:gd name="connsiteY288" fmla="*/ 4115043 h 10394676"/>
              <a:gd name="connsiteX289" fmla="*/ 725297 w 10375356"/>
              <a:gd name="connsiteY289" fmla="*/ 4115043 h 10394676"/>
              <a:gd name="connsiteX290" fmla="*/ 725297 w 10375356"/>
              <a:gd name="connsiteY290" fmla="*/ 4625865 h 10394676"/>
              <a:gd name="connsiteX291" fmla="*/ 623387 w 10375356"/>
              <a:gd name="connsiteY291" fmla="*/ 4625865 h 10394676"/>
              <a:gd name="connsiteX292" fmla="*/ 9744252 w 10375356"/>
              <a:gd name="connsiteY292" fmla="*/ 4106125 h 10394676"/>
              <a:gd name="connsiteX293" fmla="*/ 10009217 w 10375356"/>
              <a:gd name="connsiteY293" fmla="*/ 4371093 h 10394676"/>
              <a:gd name="connsiteX294" fmla="*/ 9744252 w 10375356"/>
              <a:gd name="connsiteY294" fmla="*/ 4636057 h 10394676"/>
              <a:gd name="connsiteX295" fmla="*/ 9479286 w 10375356"/>
              <a:gd name="connsiteY295" fmla="*/ 4371093 h 10394676"/>
              <a:gd name="connsiteX296" fmla="*/ 9744252 w 10375356"/>
              <a:gd name="connsiteY296" fmla="*/ 4106125 h 10394676"/>
              <a:gd name="connsiteX297" fmla="*/ 1499812 w 10375356"/>
              <a:gd name="connsiteY297" fmla="*/ 4106125 h 10394676"/>
              <a:gd name="connsiteX298" fmla="*/ 1764778 w 10375356"/>
              <a:gd name="connsiteY298" fmla="*/ 4371093 h 10394676"/>
              <a:gd name="connsiteX299" fmla="*/ 1499812 w 10375356"/>
              <a:gd name="connsiteY299" fmla="*/ 4636057 h 10394676"/>
              <a:gd name="connsiteX300" fmla="*/ 1234846 w 10375356"/>
              <a:gd name="connsiteY300" fmla="*/ 4371093 h 10394676"/>
              <a:gd name="connsiteX301" fmla="*/ 1499812 w 10375356"/>
              <a:gd name="connsiteY301" fmla="*/ 4106125 h 10394676"/>
              <a:gd name="connsiteX302" fmla="*/ 9489477 w 10375356"/>
              <a:gd name="connsiteY302" fmla="*/ 3495941 h 10394676"/>
              <a:gd name="connsiteX303" fmla="*/ 10000300 w 10375356"/>
              <a:gd name="connsiteY303" fmla="*/ 3495941 h 10394676"/>
              <a:gd name="connsiteX304" fmla="*/ 10000300 w 10375356"/>
              <a:gd name="connsiteY304" fmla="*/ 3597851 h 10394676"/>
              <a:gd name="connsiteX305" fmla="*/ 9489477 w 10375356"/>
              <a:gd name="connsiteY305" fmla="*/ 3597851 h 10394676"/>
              <a:gd name="connsiteX306" fmla="*/ 2066685 w 10375356"/>
              <a:gd name="connsiteY306" fmla="*/ 3495941 h 10394676"/>
              <a:gd name="connsiteX307" fmla="*/ 2154931 w 10375356"/>
              <a:gd name="connsiteY307" fmla="*/ 3495941 h 10394676"/>
              <a:gd name="connsiteX308" fmla="*/ 2133958 w 10375356"/>
              <a:gd name="connsiteY308" fmla="*/ 3530464 h 10394676"/>
              <a:gd name="connsiteX309" fmla="*/ 2101496 w 10375356"/>
              <a:gd name="connsiteY309" fmla="*/ 3597851 h 10394676"/>
              <a:gd name="connsiteX310" fmla="*/ 2066685 w 10375356"/>
              <a:gd name="connsiteY310" fmla="*/ 3597851 h 10394676"/>
              <a:gd name="connsiteX311" fmla="*/ 674343 w 10375356"/>
              <a:gd name="connsiteY311" fmla="*/ 3383841 h 10394676"/>
              <a:gd name="connsiteX312" fmla="*/ 511289 w 10375356"/>
              <a:gd name="connsiteY312" fmla="*/ 3546897 h 10394676"/>
              <a:gd name="connsiteX313" fmla="*/ 674343 w 10375356"/>
              <a:gd name="connsiteY313" fmla="*/ 3709953 h 10394676"/>
              <a:gd name="connsiteX314" fmla="*/ 837399 w 10375356"/>
              <a:gd name="connsiteY314" fmla="*/ 3546897 h 10394676"/>
              <a:gd name="connsiteX315" fmla="*/ 674343 w 10375356"/>
              <a:gd name="connsiteY315" fmla="*/ 3383841 h 10394676"/>
              <a:gd name="connsiteX316" fmla="*/ 8870376 w 10375356"/>
              <a:gd name="connsiteY316" fmla="*/ 3292121 h 10394676"/>
              <a:gd name="connsiteX317" fmla="*/ 8972285 w 10375356"/>
              <a:gd name="connsiteY317" fmla="*/ 3292121 h 10394676"/>
              <a:gd name="connsiteX318" fmla="*/ 8972285 w 10375356"/>
              <a:gd name="connsiteY318" fmla="*/ 3802945 h 10394676"/>
              <a:gd name="connsiteX319" fmla="*/ 8870376 w 10375356"/>
              <a:gd name="connsiteY319" fmla="*/ 3802945 h 10394676"/>
              <a:gd name="connsiteX320" fmla="*/ 8142327 w 10375356"/>
              <a:gd name="connsiteY320" fmla="*/ 3292121 h 10394676"/>
              <a:gd name="connsiteX321" fmla="*/ 8148089 w 10375356"/>
              <a:gd name="connsiteY321" fmla="*/ 3292121 h 10394676"/>
              <a:gd name="connsiteX322" fmla="*/ 8148089 w 10375356"/>
              <a:gd name="connsiteY322" fmla="*/ 3301606 h 10394676"/>
              <a:gd name="connsiteX323" fmla="*/ 1447583 w 10375356"/>
              <a:gd name="connsiteY323" fmla="*/ 3292121 h 10394676"/>
              <a:gd name="connsiteX324" fmla="*/ 1549493 w 10375356"/>
              <a:gd name="connsiteY324" fmla="*/ 3292121 h 10394676"/>
              <a:gd name="connsiteX325" fmla="*/ 1549493 w 10375356"/>
              <a:gd name="connsiteY325" fmla="*/ 3802945 h 10394676"/>
              <a:gd name="connsiteX326" fmla="*/ 1447583 w 10375356"/>
              <a:gd name="connsiteY326" fmla="*/ 3802945 h 10394676"/>
              <a:gd name="connsiteX327" fmla="*/ 675617 w 10375356"/>
              <a:gd name="connsiteY327" fmla="*/ 3281931 h 10394676"/>
              <a:gd name="connsiteX328" fmla="*/ 940583 w 10375356"/>
              <a:gd name="connsiteY328" fmla="*/ 3546897 h 10394676"/>
              <a:gd name="connsiteX329" fmla="*/ 675617 w 10375356"/>
              <a:gd name="connsiteY329" fmla="*/ 3811861 h 10394676"/>
              <a:gd name="connsiteX330" fmla="*/ 410652 w 10375356"/>
              <a:gd name="connsiteY330" fmla="*/ 3546897 h 10394676"/>
              <a:gd name="connsiteX331" fmla="*/ 675617 w 10375356"/>
              <a:gd name="connsiteY331" fmla="*/ 3281931 h 10394676"/>
              <a:gd name="connsiteX332" fmla="*/ 1242482 w 10375356"/>
              <a:gd name="connsiteY332" fmla="*/ 2671745 h 10394676"/>
              <a:gd name="connsiteX333" fmla="*/ 1753305 w 10375356"/>
              <a:gd name="connsiteY333" fmla="*/ 2671745 h 10394676"/>
              <a:gd name="connsiteX334" fmla="*/ 1753305 w 10375356"/>
              <a:gd name="connsiteY334" fmla="*/ 2773657 h 10394676"/>
              <a:gd name="connsiteX335" fmla="*/ 1242482 w 10375356"/>
              <a:gd name="connsiteY335" fmla="*/ 2773657 h 10394676"/>
              <a:gd name="connsiteX336" fmla="*/ 8921331 w 10375356"/>
              <a:gd name="connsiteY336" fmla="*/ 2560919 h 10394676"/>
              <a:gd name="connsiteX337" fmla="*/ 8758275 w 10375356"/>
              <a:gd name="connsiteY337" fmla="*/ 2723975 h 10394676"/>
              <a:gd name="connsiteX338" fmla="*/ 8921331 w 10375356"/>
              <a:gd name="connsiteY338" fmla="*/ 2887029 h 10394676"/>
              <a:gd name="connsiteX339" fmla="*/ 9084386 w 10375356"/>
              <a:gd name="connsiteY339" fmla="*/ 2723975 h 10394676"/>
              <a:gd name="connsiteX340" fmla="*/ 8921331 w 10375356"/>
              <a:gd name="connsiteY340" fmla="*/ 2560919 h 10394676"/>
              <a:gd name="connsiteX341" fmla="*/ 2322726 w 10375356"/>
              <a:gd name="connsiteY341" fmla="*/ 2560919 h 10394676"/>
              <a:gd name="connsiteX342" fmla="*/ 2159671 w 10375356"/>
              <a:gd name="connsiteY342" fmla="*/ 2723975 h 10394676"/>
              <a:gd name="connsiteX343" fmla="*/ 2322726 w 10375356"/>
              <a:gd name="connsiteY343" fmla="*/ 2887029 h 10394676"/>
              <a:gd name="connsiteX344" fmla="*/ 2485782 w 10375356"/>
              <a:gd name="connsiteY344" fmla="*/ 2723975 h 10394676"/>
              <a:gd name="connsiteX345" fmla="*/ 2322726 w 10375356"/>
              <a:gd name="connsiteY345" fmla="*/ 2560919 h 10394676"/>
              <a:gd name="connsiteX346" fmla="*/ 9694571 w 10375356"/>
              <a:gd name="connsiteY346" fmla="*/ 2553886 h 10394676"/>
              <a:gd name="connsiteX347" fmla="*/ 9792198 w 10375356"/>
              <a:gd name="connsiteY347" fmla="*/ 2714584 h 10394676"/>
              <a:gd name="connsiteX348" fmla="*/ 9796481 w 10375356"/>
              <a:gd name="connsiteY348" fmla="*/ 2723476 h 10394676"/>
              <a:gd name="connsiteX349" fmla="*/ 9796481 w 10375356"/>
              <a:gd name="connsiteY349" fmla="*/ 2978749 h 10394676"/>
              <a:gd name="connsiteX350" fmla="*/ 9694571 w 10375356"/>
              <a:gd name="connsiteY350" fmla="*/ 2978749 h 10394676"/>
              <a:gd name="connsiteX351" fmla="*/ 772671 w 10375356"/>
              <a:gd name="connsiteY351" fmla="*/ 2477905 h 10394676"/>
              <a:gd name="connsiteX352" fmla="*/ 778813 w 10375356"/>
              <a:gd name="connsiteY352" fmla="*/ 2479809 h 10394676"/>
              <a:gd name="connsiteX353" fmla="*/ 940575 w 10375356"/>
              <a:gd name="connsiteY353" fmla="*/ 2723975 h 10394676"/>
              <a:gd name="connsiteX354" fmla="*/ 675608 w 10375356"/>
              <a:gd name="connsiteY354" fmla="*/ 2988941 h 10394676"/>
              <a:gd name="connsiteX355" fmla="*/ 527394 w 10375356"/>
              <a:gd name="connsiteY355" fmla="*/ 2942835 h 10394676"/>
              <a:gd name="connsiteX356" fmla="*/ 521341 w 10375356"/>
              <a:gd name="connsiteY356" fmla="*/ 2937832 h 10394676"/>
              <a:gd name="connsiteX357" fmla="*/ 566336 w 10375356"/>
              <a:gd name="connsiteY357" fmla="*/ 2844427 h 10394676"/>
              <a:gd name="connsiteX358" fmla="*/ 610701 w 10375356"/>
              <a:gd name="connsiteY358" fmla="*/ 2874271 h 10394676"/>
              <a:gd name="connsiteX359" fmla="*/ 674334 w 10375356"/>
              <a:gd name="connsiteY359" fmla="*/ 2887029 h 10394676"/>
              <a:gd name="connsiteX360" fmla="*/ 837390 w 10375356"/>
              <a:gd name="connsiteY360" fmla="*/ 2723975 h 10394676"/>
              <a:gd name="connsiteX361" fmla="*/ 737968 w 10375356"/>
              <a:gd name="connsiteY361" fmla="*/ 2573678 h 10394676"/>
              <a:gd name="connsiteX362" fmla="*/ 717037 w 10375356"/>
              <a:gd name="connsiteY362" fmla="*/ 2569481 h 10394676"/>
              <a:gd name="connsiteX363" fmla="*/ 8046180 w 10375356"/>
              <a:gd name="connsiteY363" fmla="*/ 2467925 h 10394676"/>
              <a:gd name="connsiteX364" fmla="*/ 8148089 w 10375356"/>
              <a:gd name="connsiteY364" fmla="*/ 2467925 h 10394676"/>
              <a:gd name="connsiteX365" fmla="*/ 8148089 w 10375356"/>
              <a:gd name="connsiteY365" fmla="*/ 2978749 h 10394676"/>
              <a:gd name="connsiteX366" fmla="*/ 8046180 w 10375356"/>
              <a:gd name="connsiteY366" fmla="*/ 2978749 h 10394676"/>
              <a:gd name="connsiteX367" fmla="*/ 8921331 w 10375356"/>
              <a:gd name="connsiteY367" fmla="*/ 2459009 h 10394676"/>
              <a:gd name="connsiteX368" fmla="*/ 9186296 w 10375356"/>
              <a:gd name="connsiteY368" fmla="*/ 2723975 h 10394676"/>
              <a:gd name="connsiteX369" fmla="*/ 8921331 w 10375356"/>
              <a:gd name="connsiteY369" fmla="*/ 2988941 h 10394676"/>
              <a:gd name="connsiteX370" fmla="*/ 8656365 w 10375356"/>
              <a:gd name="connsiteY370" fmla="*/ 2723975 h 10394676"/>
              <a:gd name="connsiteX371" fmla="*/ 8921331 w 10375356"/>
              <a:gd name="connsiteY371" fmla="*/ 2459009 h 10394676"/>
              <a:gd name="connsiteX372" fmla="*/ 2322726 w 10375356"/>
              <a:gd name="connsiteY372" fmla="*/ 2459009 h 10394676"/>
              <a:gd name="connsiteX373" fmla="*/ 2587692 w 10375356"/>
              <a:gd name="connsiteY373" fmla="*/ 2723975 h 10394676"/>
              <a:gd name="connsiteX374" fmla="*/ 2322726 w 10375356"/>
              <a:gd name="connsiteY374" fmla="*/ 2988941 h 10394676"/>
              <a:gd name="connsiteX375" fmla="*/ 2057761 w 10375356"/>
              <a:gd name="connsiteY375" fmla="*/ 2723975 h 10394676"/>
              <a:gd name="connsiteX376" fmla="*/ 2322726 w 10375356"/>
              <a:gd name="connsiteY376" fmla="*/ 2459009 h 10394676"/>
              <a:gd name="connsiteX377" fmla="*/ 7842360 w 10375356"/>
              <a:gd name="connsiteY377" fmla="*/ 1848825 h 10394676"/>
              <a:gd name="connsiteX378" fmla="*/ 8353182 w 10375356"/>
              <a:gd name="connsiteY378" fmla="*/ 1848825 h 10394676"/>
              <a:gd name="connsiteX379" fmla="*/ 8353182 w 10375356"/>
              <a:gd name="connsiteY379" fmla="*/ 1950733 h 10394676"/>
              <a:gd name="connsiteX380" fmla="*/ 7842360 w 10375356"/>
              <a:gd name="connsiteY380" fmla="*/ 1950733 h 10394676"/>
              <a:gd name="connsiteX381" fmla="*/ 6223404 w 10375356"/>
              <a:gd name="connsiteY381" fmla="*/ 1848825 h 10394676"/>
              <a:gd name="connsiteX382" fmla="*/ 6704792 w 10375356"/>
              <a:gd name="connsiteY382" fmla="*/ 1848825 h 10394676"/>
              <a:gd name="connsiteX383" fmla="*/ 6704792 w 10375356"/>
              <a:gd name="connsiteY383" fmla="*/ 1950733 h 10394676"/>
              <a:gd name="connsiteX384" fmla="*/ 6512646 w 10375356"/>
              <a:gd name="connsiteY384" fmla="*/ 1950733 h 10394676"/>
              <a:gd name="connsiteX385" fmla="*/ 6413573 w 10375356"/>
              <a:gd name="connsiteY385" fmla="*/ 1911670 h 10394676"/>
              <a:gd name="connsiteX386" fmla="*/ 6251001 w 10375356"/>
              <a:gd name="connsiteY386" fmla="*/ 1856662 h 10394676"/>
              <a:gd name="connsiteX387" fmla="*/ 2890884 w 10375356"/>
              <a:gd name="connsiteY387" fmla="*/ 1848825 h 10394676"/>
              <a:gd name="connsiteX388" fmla="*/ 3401707 w 10375356"/>
              <a:gd name="connsiteY388" fmla="*/ 1848825 h 10394676"/>
              <a:gd name="connsiteX389" fmla="*/ 3401707 w 10375356"/>
              <a:gd name="connsiteY389" fmla="*/ 1950733 h 10394676"/>
              <a:gd name="connsiteX390" fmla="*/ 2890884 w 10375356"/>
              <a:gd name="connsiteY390" fmla="*/ 1950733 h 10394676"/>
              <a:gd name="connsiteX391" fmla="*/ 1242493 w 10375356"/>
              <a:gd name="connsiteY391" fmla="*/ 1848825 h 10394676"/>
              <a:gd name="connsiteX392" fmla="*/ 1753316 w 10375356"/>
              <a:gd name="connsiteY392" fmla="*/ 1848825 h 10394676"/>
              <a:gd name="connsiteX393" fmla="*/ 1753316 w 10375356"/>
              <a:gd name="connsiteY393" fmla="*/ 1950733 h 10394676"/>
              <a:gd name="connsiteX394" fmla="*/ 1242493 w 10375356"/>
              <a:gd name="connsiteY394" fmla="*/ 1950733 h 10394676"/>
              <a:gd name="connsiteX395" fmla="*/ 8921331 w 10375356"/>
              <a:gd name="connsiteY395" fmla="*/ 1736725 h 10394676"/>
              <a:gd name="connsiteX396" fmla="*/ 8758275 w 10375356"/>
              <a:gd name="connsiteY396" fmla="*/ 1899781 h 10394676"/>
              <a:gd name="connsiteX397" fmla="*/ 8921331 w 10375356"/>
              <a:gd name="connsiteY397" fmla="*/ 2062835 h 10394676"/>
              <a:gd name="connsiteX398" fmla="*/ 9084386 w 10375356"/>
              <a:gd name="connsiteY398" fmla="*/ 1899781 h 10394676"/>
              <a:gd name="connsiteX399" fmla="*/ 8921331 w 10375356"/>
              <a:gd name="connsiteY399" fmla="*/ 1736725 h 10394676"/>
              <a:gd name="connsiteX400" fmla="*/ 7223258 w 10375356"/>
              <a:gd name="connsiteY400" fmla="*/ 1643731 h 10394676"/>
              <a:gd name="connsiteX401" fmla="*/ 7325168 w 10375356"/>
              <a:gd name="connsiteY401" fmla="*/ 1643731 h 10394676"/>
              <a:gd name="connsiteX402" fmla="*/ 7325168 w 10375356"/>
              <a:gd name="connsiteY402" fmla="*/ 2154553 h 10394676"/>
              <a:gd name="connsiteX403" fmla="*/ 7223258 w 10375356"/>
              <a:gd name="connsiteY403" fmla="*/ 2154553 h 10394676"/>
              <a:gd name="connsiteX404" fmla="*/ 2271782 w 10375356"/>
              <a:gd name="connsiteY404" fmla="*/ 1643731 h 10394676"/>
              <a:gd name="connsiteX405" fmla="*/ 2373691 w 10375356"/>
              <a:gd name="connsiteY405" fmla="*/ 1643731 h 10394676"/>
              <a:gd name="connsiteX406" fmla="*/ 2373691 w 10375356"/>
              <a:gd name="connsiteY406" fmla="*/ 2154553 h 10394676"/>
              <a:gd name="connsiteX407" fmla="*/ 2271782 w 10375356"/>
              <a:gd name="connsiteY407" fmla="*/ 2154553 h 10394676"/>
              <a:gd name="connsiteX408" fmla="*/ 8921331 w 10375356"/>
              <a:gd name="connsiteY408" fmla="*/ 1634813 h 10394676"/>
              <a:gd name="connsiteX409" fmla="*/ 9024534 w 10375356"/>
              <a:gd name="connsiteY409" fmla="*/ 1655614 h 10394676"/>
              <a:gd name="connsiteX410" fmla="*/ 9036119 w 10375356"/>
              <a:gd name="connsiteY410" fmla="*/ 1661896 h 10394676"/>
              <a:gd name="connsiteX411" fmla="*/ 9067478 w 10375356"/>
              <a:gd name="connsiteY411" fmla="*/ 1694788 h 10394676"/>
              <a:gd name="connsiteX412" fmla="*/ 9168482 w 10375356"/>
              <a:gd name="connsiteY412" fmla="*/ 1811390 h 10394676"/>
              <a:gd name="connsiteX413" fmla="*/ 9186296 w 10375356"/>
              <a:gd name="connsiteY413" fmla="*/ 1899781 h 10394676"/>
              <a:gd name="connsiteX414" fmla="*/ 8921331 w 10375356"/>
              <a:gd name="connsiteY414" fmla="*/ 2164745 h 10394676"/>
              <a:gd name="connsiteX415" fmla="*/ 8656365 w 10375356"/>
              <a:gd name="connsiteY415" fmla="*/ 1899781 h 10394676"/>
              <a:gd name="connsiteX416" fmla="*/ 8921331 w 10375356"/>
              <a:gd name="connsiteY416" fmla="*/ 1634813 h 10394676"/>
              <a:gd name="connsiteX417" fmla="*/ 3969851 w 10375356"/>
              <a:gd name="connsiteY417" fmla="*/ 1634813 h 10394676"/>
              <a:gd name="connsiteX418" fmla="*/ 4214017 w 10375356"/>
              <a:gd name="connsiteY418" fmla="*/ 1796577 h 10394676"/>
              <a:gd name="connsiteX419" fmla="*/ 4223093 w 10375356"/>
              <a:gd name="connsiteY419" fmla="*/ 1841608 h 10394676"/>
              <a:gd name="connsiteX420" fmla="*/ 4170081 w 10375356"/>
              <a:gd name="connsiteY420" fmla="*/ 1856662 h 10394676"/>
              <a:gd name="connsiteX421" fmla="*/ 4127174 w 10375356"/>
              <a:gd name="connsiteY421" fmla="*/ 1871180 h 10394676"/>
              <a:gd name="connsiteX422" fmla="*/ 4120150 w 10375356"/>
              <a:gd name="connsiteY422" fmla="*/ 1836147 h 10394676"/>
              <a:gd name="connsiteX423" fmla="*/ 3969851 w 10375356"/>
              <a:gd name="connsiteY423" fmla="*/ 1736725 h 10394676"/>
              <a:gd name="connsiteX424" fmla="*/ 3806796 w 10375356"/>
              <a:gd name="connsiteY424" fmla="*/ 1899781 h 10394676"/>
              <a:gd name="connsiteX425" fmla="*/ 3819555 w 10375356"/>
              <a:gd name="connsiteY425" fmla="*/ 1963414 h 10394676"/>
              <a:gd name="connsiteX426" fmla="*/ 3832208 w 10375356"/>
              <a:gd name="connsiteY426" fmla="*/ 1982224 h 10394676"/>
              <a:gd name="connsiteX427" fmla="*/ 3741230 w 10375356"/>
              <a:gd name="connsiteY427" fmla="*/ 2026051 h 10394676"/>
              <a:gd name="connsiteX428" fmla="*/ 3725686 w 10375356"/>
              <a:gd name="connsiteY428" fmla="*/ 2002984 h 10394676"/>
              <a:gd name="connsiteX429" fmla="*/ 3704886 w 10375356"/>
              <a:gd name="connsiteY429" fmla="*/ 1899781 h 10394676"/>
              <a:gd name="connsiteX430" fmla="*/ 3969851 w 10375356"/>
              <a:gd name="connsiteY430" fmla="*/ 1634813 h 10394676"/>
              <a:gd name="connsiteX431" fmla="*/ 7842360 w 10375356"/>
              <a:gd name="connsiteY431" fmla="*/ 1024629 h 10394676"/>
              <a:gd name="connsiteX432" fmla="*/ 8330359 w 10375356"/>
              <a:gd name="connsiteY432" fmla="*/ 1024629 h 10394676"/>
              <a:gd name="connsiteX433" fmla="*/ 8353182 w 10375356"/>
              <a:gd name="connsiteY433" fmla="*/ 1042565 h 10394676"/>
              <a:gd name="connsiteX434" fmla="*/ 8353182 w 10375356"/>
              <a:gd name="connsiteY434" fmla="*/ 1126539 h 10394676"/>
              <a:gd name="connsiteX435" fmla="*/ 7842360 w 10375356"/>
              <a:gd name="connsiteY435" fmla="*/ 1126539 h 10394676"/>
              <a:gd name="connsiteX436" fmla="*/ 5371048 w 10375356"/>
              <a:gd name="connsiteY436" fmla="*/ 1024629 h 10394676"/>
              <a:gd name="connsiteX437" fmla="*/ 5881870 w 10375356"/>
              <a:gd name="connsiteY437" fmla="*/ 1024629 h 10394676"/>
              <a:gd name="connsiteX438" fmla="*/ 5881870 w 10375356"/>
              <a:gd name="connsiteY438" fmla="*/ 1126539 h 10394676"/>
              <a:gd name="connsiteX439" fmla="*/ 5371048 w 10375356"/>
              <a:gd name="connsiteY439" fmla="*/ 1126539 h 10394676"/>
              <a:gd name="connsiteX440" fmla="*/ 4538001 w 10375356"/>
              <a:gd name="connsiteY440" fmla="*/ 1024629 h 10394676"/>
              <a:gd name="connsiteX441" fmla="*/ 5048825 w 10375356"/>
              <a:gd name="connsiteY441" fmla="*/ 1024629 h 10394676"/>
              <a:gd name="connsiteX442" fmla="*/ 5048825 w 10375356"/>
              <a:gd name="connsiteY442" fmla="*/ 1126539 h 10394676"/>
              <a:gd name="connsiteX443" fmla="*/ 4538001 w 10375356"/>
              <a:gd name="connsiteY443" fmla="*/ 1126539 h 10394676"/>
              <a:gd name="connsiteX444" fmla="*/ 2890886 w 10375356"/>
              <a:gd name="connsiteY444" fmla="*/ 1024629 h 10394676"/>
              <a:gd name="connsiteX445" fmla="*/ 3401709 w 10375356"/>
              <a:gd name="connsiteY445" fmla="*/ 1024629 h 10394676"/>
              <a:gd name="connsiteX446" fmla="*/ 3401709 w 10375356"/>
              <a:gd name="connsiteY446" fmla="*/ 1126539 h 10394676"/>
              <a:gd name="connsiteX447" fmla="*/ 2890886 w 10375356"/>
              <a:gd name="connsiteY447" fmla="*/ 1126539 h 10394676"/>
              <a:gd name="connsiteX448" fmla="*/ 6450017 w 10375356"/>
              <a:gd name="connsiteY448" fmla="*/ 912529 h 10394676"/>
              <a:gd name="connsiteX449" fmla="*/ 6286962 w 10375356"/>
              <a:gd name="connsiteY449" fmla="*/ 1075585 h 10394676"/>
              <a:gd name="connsiteX450" fmla="*/ 6450017 w 10375356"/>
              <a:gd name="connsiteY450" fmla="*/ 1238639 h 10394676"/>
              <a:gd name="connsiteX451" fmla="*/ 6613073 w 10375356"/>
              <a:gd name="connsiteY451" fmla="*/ 1075585 h 10394676"/>
              <a:gd name="connsiteX452" fmla="*/ 6450017 w 10375356"/>
              <a:gd name="connsiteY452" fmla="*/ 912529 h 10394676"/>
              <a:gd name="connsiteX453" fmla="*/ 2373692 w 10375356"/>
              <a:gd name="connsiteY453" fmla="*/ 828587 h 10394676"/>
              <a:gd name="connsiteX454" fmla="*/ 2373692 w 10375356"/>
              <a:gd name="connsiteY454" fmla="*/ 1331633 h 10394676"/>
              <a:gd name="connsiteX455" fmla="*/ 2271782 w 10375356"/>
              <a:gd name="connsiteY455" fmla="*/ 1331633 h 10394676"/>
              <a:gd name="connsiteX456" fmla="*/ 2271782 w 10375356"/>
              <a:gd name="connsiteY456" fmla="*/ 895706 h 10394676"/>
              <a:gd name="connsiteX457" fmla="*/ 2297278 w 10375356"/>
              <a:gd name="connsiteY457" fmla="*/ 877575 h 10394676"/>
              <a:gd name="connsiteX458" fmla="*/ 7223258 w 10375356"/>
              <a:gd name="connsiteY458" fmla="*/ 820809 h 10394676"/>
              <a:gd name="connsiteX459" fmla="*/ 7325168 w 10375356"/>
              <a:gd name="connsiteY459" fmla="*/ 820809 h 10394676"/>
              <a:gd name="connsiteX460" fmla="*/ 7325168 w 10375356"/>
              <a:gd name="connsiteY460" fmla="*/ 1331633 h 10394676"/>
              <a:gd name="connsiteX461" fmla="*/ 7223258 w 10375356"/>
              <a:gd name="connsiteY461" fmla="*/ 1331633 h 10394676"/>
              <a:gd name="connsiteX462" fmla="*/ 3918899 w 10375356"/>
              <a:gd name="connsiteY462" fmla="*/ 820809 h 10394676"/>
              <a:gd name="connsiteX463" fmla="*/ 4020808 w 10375356"/>
              <a:gd name="connsiteY463" fmla="*/ 820809 h 10394676"/>
              <a:gd name="connsiteX464" fmla="*/ 4020808 w 10375356"/>
              <a:gd name="connsiteY464" fmla="*/ 1331633 h 10394676"/>
              <a:gd name="connsiteX465" fmla="*/ 3918899 w 10375356"/>
              <a:gd name="connsiteY465" fmla="*/ 1331633 h 10394676"/>
              <a:gd name="connsiteX466" fmla="*/ 6451292 w 10375356"/>
              <a:gd name="connsiteY466" fmla="*/ 810617 h 10394676"/>
              <a:gd name="connsiteX467" fmla="*/ 6716257 w 10375356"/>
              <a:gd name="connsiteY467" fmla="*/ 1075585 h 10394676"/>
              <a:gd name="connsiteX468" fmla="*/ 6451292 w 10375356"/>
              <a:gd name="connsiteY468" fmla="*/ 1340549 h 10394676"/>
              <a:gd name="connsiteX469" fmla="*/ 6186326 w 10375356"/>
              <a:gd name="connsiteY469" fmla="*/ 1075585 h 10394676"/>
              <a:gd name="connsiteX470" fmla="*/ 6451292 w 10375356"/>
              <a:gd name="connsiteY470" fmla="*/ 810617 h 10394676"/>
              <a:gd name="connsiteX471" fmla="*/ 6399063 w 10375356"/>
              <a:gd name="connsiteY471" fmla="*/ 125503 h 10394676"/>
              <a:gd name="connsiteX472" fmla="*/ 6500973 w 10375356"/>
              <a:gd name="connsiteY472" fmla="*/ 149024 h 10394676"/>
              <a:gd name="connsiteX473" fmla="*/ 6500973 w 10375356"/>
              <a:gd name="connsiteY473" fmla="*/ 508711 h 10394676"/>
              <a:gd name="connsiteX474" fmla="*/ 6399063 w 10375356"/>
              <a:gd name="connsiteY474" fmla="*/ 508711 h 10394676"/>
              <a:gd name="connsiteX475" fmla="*/ 4743094 w 10375356"/>
              <a:gd name="connsiteY475" fmla="*/ 101073 h 10394676"/>
              <a:gd name="connsiteX476" fmla="*/ 4845004 w 10375356"/>
              <a:gd name="connsiteY476" fmla="*/ 101073 h 10394676"/>
              <a:gd name="connsiteX477" fmla="*/ 4845004 w 10375356"/>
              <a:gd name="connsiteY477" fmla="*/ 508711 h 10394676"/>
              <a:gd name="connsiteX478" fmla="*/ 4743094 w 10375356"/>
              <a:gd name="connsiteY478" fmla="*/ 508711 h 10394676"/>
              <a:gd name="connsiteX479" fmla="*/ 4174642 w 10375356"/>
              <a:gd name="connsiteY479" fmla="*/ 91020 h 10394676"/>
              <a:gd name="connsiteX480" fmla="*/ 4214021 w 10375356"/>
              <a:gd name="connsiteY480" fmla="*/ 149458 h 10394676"/>
              <a:gd name="connsiteX481" fmla="*/ 4234820 w 10375356"/>
              <a:gd name="connsiteY481" fmla="*/ 252661 h 10394676"/>
              <a:gd name="connsiteX482" fmla="*/ 3969854 w 10375356"/>
              <a:gd name="connsiteY482" fmla="*/ 517629 h 10394676"/>
              <a:gd name="connsiteX483" fmla="*/ 3704889 w 10375356"/>
              <a:gd name="connsiteY483" fmla="*/ 252661 h 10394676"/>
              <a:gd name="connsiteX484" fmla="*/ 3714113 w 10375356"/>
              <a:gd name="connsiteY484" fmla="*/ 206895 h 10394676"/>
              <a:gd name="connsiteX485" fmla="*/ 3829928 w 10375356"/>
              <a:gd name="connsiteY485" fmla="*/ 174007 h 10394676"/>
              <a:gd name="connsiteX486" fmla="*/ 3819737 w 10375356"/>
              <a:gd name="connsiteY486" fmla="*/ 189028 h 10394676"/>
              <a:gd name="connsiteX487" fmla="*/ 3806799 w 10375356"/>
              <a:gd name="connsiteY487" fmla="*/ 252661 h 10394676"/>
              <a:gd name="connsiteX488" fmla="*/ 3969854 w 10375356"/>
              <a:gd name="connsiteY488" fmla="*/ 415717 h 10394676"/>
              <a:gd name="connsiteX489" fmla="*/ 4132911 w 10375356"/>
              <a:gd name="connsiteY489" fmla="*/ 252661 h 10394676"/>
              <a:gd name="connsiteX490" fmla="*/ 4085300 w 10375356"/>
              <a:gd name="connsiteY490" fmla="*/ 137218 h 10394676"/>
              <a:gd name="connsiteX491" fmla="*/ 4056168 w 10375356"/>
              <a:gd name="connsiteY491" fmla="*/ 117622 h 10394676"/>
              <a:gd name="connsiteX492" fmla="*/ 4160436 w 10375356"/>
              <a:gd name="connsiteY492" fmla="*/ 93557 h 10394676"/>
              <a:gd name="connsiteX493" fmla="*/ 5625822 w 10375356"/>
              <a:gd name="connsiteY493" fmla="*/ 89607 h 10394676"/>
              <a:gd name="connsiteX494" fmla="*/ 5462766 w 10375356"/>
              <a:gd name="connsiteY494" fmla="*/ 252661 h 10394676"/>
              <a:gd name="connsiteX495" fmla="*/ 5625822 w 10375356"/>
              <a:gd name="connsiteY495" fmla="*/ 415717 h 10394676"/>
              <a:gd name="connsiteX496" fmla="*/ 5788878 w 10375356"/>
              <a:gd name="connsiteY496" fmla="*/ 252661 h 10394676"/>
              <a:gd name="connsiteX497" fmla="*/ 5625822 w 10375356"/>
              <a:gd name="connsiteY497" fmla="*/ 89607 h 10394676"/>
              <a:gd name="connsiteX498" fmla="*/ 5551305 w 10375356"/>
              <a:gd name="connsiteY498" fmla="*/ 0 h 10394676"/>
              <a:gd name="connsiteX499" fmla="*/ 5741268 w 10375356"/>
              <a:gd name="connsiteY499" fmla="*/ 14445 h 10394676"/>
              <a:gd name="connsiteX500" fmla="*/ 5775311 w 10375356"/>
              <a:gd name="connsiteY500" fmla="*/ 32907 h 10394676"/>
              <a:gd name="connsiteX501" fmla="*/ 5892062 w 10375356"/>
              <a:gd name="connsiteY501" fmla="*/ 252661 h 10394676"/>
              <a:gd name="connsiteX502" fmla="*/ 5627096 w 10375356"/>
              <a:gd name="connsiteY502" fmla="*/ 517629 h 10394676"/>
              <a:gd name="connsiteX503" fmla="*/ 5362131 w 10375356"/>
              <a:gd name="connsiteY503" fmla="*/ 252661 h 10394676"/>
              <a:gd name="connsiteX504" fmla="*/ 5523893 w 10375356"/>
              <a:gd name="connsiteY504" fmla="*/ 8497 h 10394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</a:cxnLst>
            <a:rect l="l" t="t" r="r" b="b"/>
            <a:pathLst>
              <a:path w="10375356" h="10394676">
                <a:moveTo>
                  <a:pt x="6202887" y="10086957"/>
                </a:moveTo>
                <a:lnTo>
                  <a:pt x="6713710" y="10086957"/>
                </a:lnTo>
                <a:lnTo>
                  <a:pt x="6713710" y="10187665"/>
                </a:lnTo>
                <a:lnTo>
                  <a:pt x="6709472" y="10188869"/>
                </a:lnTo>
                <a:lnTo>
                  <a:pt x="6202887" y="10188869"/>
                </a:lnTo>
                <a:close/>
                <a:moveTo>
                  <a:pt x="5634740" y="9974857"/>
                </a:moveTo>
                <a:cubicBezTo>
                  <a:pt x="5544295" y="9974857"/>
                  <a:pt x="5471684" y="10047469"/>
                  <a:pt x="5471684" y="10137913"/>
                </a:cubicBezTo>
                <a:cubicBezTo>
                  <a:pt x="5471684" y="10228357"/>
                  <a:pt x="5544295" y="10300969"/>
                  <a:pt x="5634740" y="10300969"/>
                </a:cubicBezTo>
                <a:cubicBezTo>
                  <a:pt x="5725185" y="10299693"/>
                  <a:pt x="5797795" y="10227083"/>
                  <a:pt x="5797795" y="10137913"/>
                </a:cubicBezTo>
                <a:cubicBezTo>
                  <a:pt x="5797795" y="10047469"/>
                  <a:pt x="5725185" y="9974857"/>
                  <a:pt x="5634740" y="9974857"/>
                </a:cubicBezTo>
                <a:close/>
                <a:moveTo>
                  <a:pt x="7232175" y="9881865"/>
                </a:moveTo>
                <a:lnTo>
                  <a:pt x="7334085" y="9881865"/>
                </a:lnTo>
                <a:lnTo>
                  <a:pt x="7334085" y="9956193"/>
                </a:lnTo>
                <a:lnTo>
                  <a:pt x="7238719" y="9999307"/>
                </a:lnTo>
                <a:lnTo>
                  <a:pt x="7232175" y="10001887"/>
                </a:lnTo>
                <a:close/>
                <a:moveTo>
                  <a:pt x="4751991" y="9881865"/>
                </a:moveTo>
                <a:lnTo>
                  <a:pt x="4853901" y="9881865"/>
                </a:lnTo>
                <a:lnTo>
                  <a:pt x="4853901" y="10290777"/>
                </a:lnTo>
                <a:lnTo>
                  <a:pt x="4751991" y="10290777"/>
                </a:lnTo>
                <a:close/>
                <a:moveTo>
                  <a:pt x="5636013" y="9872947"/>
                </a:moveTo>
                <a:cubicBezTo>
                  <a:pt x="5782509" y="9872947"/>
                  <a:pt x="5900978" y="9991417"/>
                  <a:pt x="5900978" y="10137913"/>
                </a:cubicBezTo>
                <a:cubicBezTo>
                  <a:pt x="5900978" y="10247785"/>
                  <a:pt x="5834339" y="10341891"/>
                  <a:pt x="5739217" y="10382077"/>
                </a:cubicBezTo>
                <a:lnTo>
                  <a:pt x="5738756" y="10382220"/>
                </a:lnTo>
                <a:lnTo>
                  <a:pt x="5574951" y="10394676"/>
                </a:lnTo>
                <a:lnTo>
                  <a:pt x="5532810" y="10381361"/>
                </a:lnTo>
                <a:cubicBezTo>
                  <a:pt x="5437688" y="10340697"/>
                  <a:pt x="5371048" y="10246828"/>
                  <a:pt x="5371048" y="10137913"/>
                </a:cubicBezTo>
                <a:cubicBezTo>
                  <a:pt x="5371048" y="9991417"/>
                  <a:pt x="5489518" y="9872947"/>
                  <a:pt x="5636013" y="9872947"/>
                </a:cubicBezTo>
                <a:close/>
                <a:moveTo>
                  <a:pt x="3978752" y="9872947"/>
                </a:moveTo>
                <a:cubicBezTo>
                  <a:pt x="4125249" y="9872947"/>
                  <a:pt x="4243718" y="9991417"/>
                  <a:pt x="4243718" y="10137913"/>
                </a:cubicBezTo>
                <a:cubicBezTo>
                  <a:pt x="4243718" y="10174537"/>
                  <a:pt x="4236314" y="10209409"/>
                  <a:pt x="4222918" y="10241117"/>
                </a:cubicBezTo>
                <a:lnTo>
                  <a:pt x="4179036" y="10306239"/>
                </a:lnTo>
                <a:lnTo>
                  <a:pt x="4160436" y="10302917"/>
                </a:lnTo>
                <a:lnTo>
                  <a:pt x="4056265" y="10278875"/>
                </a:lnTo>
                <a:lnTo>
                  <a:pt x="4094199" y="10253357"/>
                </a:lnTo>
                <a:cubicBezTo>
                  <a:pt x="4123657" y="10223899"/>
                  <a:pt x="4141809" y="10183135"/>
                  <a:pt x="4141809" y="10137913"/>
                </a:cubicBezTo>
                <a:cubicBezTo>
                  <a:pt x="4141809" y="10047469"/>
                  <a:pt x="4069199" y="9974857"/>
                  <a:pt x="3978752" y="9974857"/>
                </a:cubicBezTo>
                <a:cubicBezTo>
                  <a:pt x="3889581" y="9974857"/>
                  <a:pt x="3815698" y="10047469"/>
                  <a:pt x="3815698" y="10137913"/>
                </a:cubicBezTo>
                <a:cubicBezTo>
                  <a:pt x="3815698" y="10160524"/>
                  <a:pt x="3820237" y="10182021"/>
                  <a:pt x="3828457" y="10201547"/>
                </a:cubicBezTo>
                <a:lnTo>
                  <a:pt x="3845505" y="10226891"/>
                </a:lnTo>
                <a:lnTo>
                  <a:pt x="3724813" y="10192618"/>
                </a:lnTo>
                <a:lnTo>
                  <a:pt x="3713787" y="10137913"/>
                </a:lnTo>
                <a:cubicBezTo>
                  <a:pt x="3713787" y="9991417"/>
                  <a:pt x="3832257" y="9872947"/>
                  <a:pt x="3978752" y="9872947"/>
                </a:cubicBezTo>
                <a:close/>
                <a:moveTo>
                  <a:pt x="3155832" y="9872947"/>
                </a:moveTo>
                <a:cubicBezTo>
                  <a:pt x="3265704" y="9872947"/>
                  <a:pt x="3359812" y="9939586"/>
                  <a:pt x="3399999" y="10034709"/>
                </a:cubicBezTo>
                <a:lnTo>
                  <a:pt x="3411035" y="10089469"/>
                </a:lnTo>
                <a:lnTo>
                  <a:pt x="3280434" y="10037975"/>
                </a:lnTo>
                <a:lnTo>
                  <a:pt x="3270003" y="10022469"/>
                </a:lnTo>
                <a:cubicBezTo>
                  <a:pt x="3240545" y="9993010"/>
                  <a:pt x="3199781" y="9974857"/>
                  <a:pt x="3154558" y="9974857"/>
                </a:cubicBezTo>
                <a:lnTo>
                  <a:pt x="3136355" y="9978507"/>
                </a:lnTo>
                <a:lnTo>
                  <a:pt x="3005935" y="9919545"/>
                </a:lnTo>
                <a:lnTo>
                  <a:pt x="3007618" y="9918157"/>
                </a:lnTo>
                <a:cubicBezTo>
                  <a:pt x="3049902" y="9889607"/>
                  <a:pt x="3100897" y="9872947"/>
                  <a:pt x="3155832" y="9872947"/>
                </a:cubicBezTo>
                <a:close/>
                <a:moveTo>
                  <a:pt x="7851277" y="9262761"/>
                </a:moveTo>
                <a:lnTo>
                  <a:pt x="8362099" y="9262761"/>
                </a:lnTo>
                <a:lnTo>
                  <a:pt x="8362099" y="9346902"/>
                </a:lnTo>
                <a:lnTo>
                  <a:pt x="8339488" y="9364671"/>
                </a:lnTo>
                <a:lnTo>
                  <a:pt x="7851277" y="9364671"/>
                </a:lnTo>
                <a:close/>
                <a:moveTo>
                  <a:pt x="5379965" y="9262761"/>
                </a:moveTo>
                <a:lnTo>
                  <a:pt x="5890787" y="9262761"/>
                </a:lnTo>
                <a:lnTo>
                  <a:pt x="5890787" y="9364671"/>
                </a:lnTo>
                <a:lnTo>
                  <a:pt x="5379965" y="9364671"/>
                </a:lnTo>
                <a:close/>
                <a:moveTo>
                  <a:pt x="4546902" y="9262761"/>
                </a:moveTo>
                <a:lnTo>
                  <a:pt x="5057725" y="9262761"/>
                </a:lnTo>
                <a:lnTo>
                  <a:pt x="5057725" y="9364671"/>
                </a:lnTo>
                <a:lnTo>
                  <a:pt x="4546902" y="9364671"/>
                </a:lnTo>
                <a:close/>
                <a:moveTo>
                  <a:pt x="2899787" y="9262761"/>
                </a:moveTo>
                <a:lnTo>
                  <a:pt x="3410609" y="9262761"/>
                </a:lnTo>
                <a:lnTo>
                  <a:pt x="3410609" y="9364671"/>
                </a:lnTo>
                <a:lnTo>
                  <a:pt x="2899787" y="9364671"/>
                </a:lnTo>
                <a:close/>
                <a:moveTo>
                  <a:pt x="6450017" y="9150661"/>
                </a:moveTo>
                <a:cubicBezTo>
                  <a:pt x="6359572" y="9150661"/>
                  <a:pt x="6286962" y="9223273"/>
                  <a:pt x="6286962" y="9313717"/>
                </a:cubicBezTo>
                <a:cubicBezTo>
                  <a:pt x="6286962" y="9404161"/>
                  <a:pt x="6359572" y="9476773"/>
                  <a:pt x="6450017" y="9476773"/>
                </a:cubicBezTo>
                <a:cubicBezTo>
                  <a:pt x="6540463" y="9476773"/>
                  <a:pt x="6613073" y="9404161"/>
                  <a:pt x="6613073" y="9313717"/>
                </a:cubicBezTo>
                <a:cubicBezTo>
                  <a:pt x="6613073" y="9223273"/>
                  <a:pt x="6540463" y="9150661"/>
                  <a:pt x="6450017" y="9150661"/>
                </a:cubicBezTo>
                <a:close/>
                <a:moveTo>
                  <a:pt x="3978754" y="9150661"/>
                </a:moveTo>
                <a:cubicBezTo>
                  <a:pt x="3889583" y="9150661"/>
                  <a:pt x="3815700" y="9223273"/>
                  <a:pt x="3815700" y="9313717"/>
                </a:cubicBezTo>
                <a:cubicBezTo>
                  <a:pt x="3815700" y="9404161"/>
                  <a:pt x="3888310" y="9476773"/>
                  <a:pt x="3978754" y="9476773"/>
                </a:cubicBezTo>
                <a:cubicBezTo>
                  <a:pt x="4069201" y="9476773"/>
                  <a:pt x="4141811" y="9404161"/>
                  <a:pt x="4141811" y="9313717"/>
                </a:cubicBezTo>
                <a:cubicBezTo>
                  <a:pt x="4141811" y="9223273"/>
                  <a:pt x="4069201" y="9150661"/>
                  <a:pt x="3978754" y="9150661"/>
                </a:cubicBezTo>
                <a:close/>
                <a:moveTo>
                  <a:pt x="7232175" y="9057669"/>
                </a:moveTo>
                <a:lnTo>
                  <a:pt x="7334085" y="9057669"/>
                </a:lnTo>
                <a:lnTo>
                  <a:pt x="7334085" y="9568493"/>
                </a:lnTo>
                <a:lnTo>
                  <a:pt x="7232175" y="9568493"/>
                </a:lnTo>
                <a:close/>
                <a:moveTo>
                  <a:pt x="2280685" y="9057669"/>
                </a:moveTo>
                <a:lnTo>
                  <a:pt x="2382595" y="9057669"/>
                </a:lnTo>
                <a:lnTo>
                  <a:pt x="2382595" y="9568493"/>
                </a:lnTo>
                <a:lnTo>
                  <a:pt x="2374638" y="9568493"/>
                </a:lnTo>
                <a:lnTo>
                  <a:pt x="2297278" y="9518899"/>
                </a:lnTo>
                <a:lnTo>
                  <a:pt x="2280685" y="9507099"/>
                </a:lnTo>
                <a:close/>
                <a:moveTo>
                  <a:pt x="6450017" y="9048751"/>
                </a:moveTo>
                <a:cubicBezTo>
                  <a:pt x="6596513" y="9048751"/>
                  <a:pt x="6714982" y="9167221"/>
                  <a:pt x="6714982" y="9313717"/>
                </a:cubicBezTo>
                <a:cubicBezTo>
                  <a:pt x="6714982" y="9460213"/>
                  <a:pt x="6596513" y="9578681"/>
                  <a:pt x="6450017" y="9578681"/>
                </a:cubicBezTo>
                <a:cubicBezTo>
                  <a:pt x="6303522" y="9578681"/>
                  <a:pt x="6185052" y="9460213"/>
                  <a:pt x="6185052" y="9313717"/>
                </a:cubicBezTo>
                <a:cubicBezTo>
                  <a:pt x="6185052" y="9167221"/>
                  <a:pt x="6303522" y="9048751"/>
                  <a:pt x="6450017" y="9048751"/>
                </a:cubicBezTo>
                <a:close/>
                <a:moveTo>
                  <a:pt x="3978754" y="9048751"/>
                </a:moveTo>
                <a:cubicBezTo>
                  <a:pt x="4125250" y="9048751"/>
                  <a:pt x="4243720" y="9167221"/>
                  <a:pt x="4243720" y="9313717"/>
                </a:cubicBezTo>
                <a:cubicBezTo>
                  <a:pt x="4243720" y="9460213"/>
                  <a:pt x="4125250" y="9578681"/>
                  <a:pt x="3978754" y="9578681"/>
                </a:cubicBezTo>
                <a:cubicBezTo>
                  <a:pt x="3832260" y="9578681"/>
                  <a:pt x="3713789" y="9460213"/>
                  <a:pt x="3713789" y="9313717"/>
                </a:cubicBezTo>
                <a:cubicBezTo>
                  <a:pt x="3713789" y="9167221"/>
                  <a:pt x="3832260" y="9048751"/>
                  <a:pt x="3978754" y="9048751"/>
                </a:cubicBezTo>
                <a:close/>
                <a:moveTo>
                  <a:pt x="5676776" y="8665264"/>
                </a:moveTo>
                <a:lnTo>
                  <a:pt x="5676776" y="8745569"/>
                </a:lnTo>
                <a:lnTo>
                  <a:pt x="5574867" y="8745569"/>
                </a:lnTo>
                <a:lnTo>
                  <a:pt x="5574867" y="8678214"/>
                </a:lnTo>
                <a:close/>
                <a:moveTo>
                  <a:pt x="3918880" y="8449859"/>
                </a:moveTo>
                <a:lnTo>
                  <a:pt x="4007509" y="8484804"/>
                </a:lnTo>
                <a:lnTo>
                  <a:pt x="4020789" y="8489298"/>
                </a:lnTo>
                <a:lnTo>
                  <a:pt x="4020789" y="8745569"/>
                </a:lnTo>
                <a:lnTo>
                  <a:pt x="3918880" y="8745569"/>
                </a:lnTo>
                <a:close/>
                <a:moveTo>
                  <a:pt x="7018165" y="8438567"/>
                </a:moveTo>
                <a:lnTo>
                  <a:pt x="7528988" y="8438567"/>
                </a:lnTo>
                <a:lnTo>
                  <a:pt x="7528988" y="8540477"/>
                </a:lnTo>
                <a:lnTo>
                  <a:pt x="7018165" y="8540477"/>
                </a:lnTo>
                <a:close/>
                <a:moveTo>
                  <a:pt x="6530840" y="8438567"/>
                </a:moveTo>
                <a:lnTo>
                  <a:pt x="6697148" y="8438567"/>
                </a:lnTo>
                <a:lnTo>
                  <a:pt x="6697148" y="8540477"/>
                </a:lnTo>
                <a:lnTo>
                  <a:pt x="6248661" y="8540477"/>
                </a:lnTo>
                <a:lnTo>
                  <a:pt x="6251001" y="8539813"/>
                </a:lnTo>
                <a:cubicBezTo>
                  <a:pt x="6305781" y="8522774"/>
                  <a:pt x="6359984" y="8504426"/>
                  <a:pt x="6413573" y="8484804"/>
                </a:cubicBezTo>
                <a:close/>
                <a:moveTo>
                  <a:pt x="2066673" y="8438567"/>
                </a:moveTo>
                <a:lnTo>
                  <a:pt x="2577496" y="8438567"/>
                </a:lnTo>
                <a:lnTo>
                  <a:pt x="2577496" y="8540477"/>
                </a:lnTo>
                <a:lnTo>
                  <a:pt x="2066673" y="8540477"/>
                </a:lnTo>
                <a:close/>
                <a:moveTo>
                  <a:pt x="1234837" y="8438567"/>
                </a:moveTo>
                <a:lnTo>
                  <a:pt x="1745660" y="8438567"/>
                </a:lnTo>
                <a:lnTo>
                  <a:pt x="1745660" y="8540477"/>
                </a:lnTo>
                <a:lnTo>
                  <a:pt x="1234837" y="8540477"/>
                </a:lnTo>
                <a:close/>
                <a:moveTo>
                  <a:pt x="8870376" y="8234747"/>
                </a:moveTo>
                <a:lnTo>
                  <a:pt x="8972285" y="8234747"/>
                </a:lnTo>
                <a:lnTo>
                  <a:pt x="8972285" y="8745569"/>
                </a:lnTo>
                <a:lnTo>
                  <a:pt x="8870376" y="8745569"/>
                </a:lnTo>
                <a:close/>
                <a:moveTo>
                  <a:pt x="8046180" y="8234747"/>
                </a:moveTo>
                <a:lnTo>
                  <a:pt x="8148089" y="8234747"/>
                </a:lnTo>
                <a:lnTo>
                  <a:pt x="8148089" y="8745569"/>
                </a:lnTo>
                <a:lnTo>
                  <a:pt x="8046180" y="8745569"/>
                </a:lnTo>
                <a:close/>
                <a:moveTo>
                  <a:pt x="3094685" y="8234747"/>
                </a:moveTo>
                <a:lnTo>
                  <a:pt x="3196595" y="8234747"/>
                </a:lnTo>
                <a:lnTo>
                  <a:pt x="3196595" y="8745569"/>
                </a:lnTo>
                <a:lnTo>
                  <a:pt x="3094685" y="8745569"/>
                </a:lnTo>
                <a:close/>
                <a:moveTo>
                  <a:pt x="9489477" y="7615645"/>
                </a:moveTo>
                <a:lnTo>
                  <a:pt x="9824110" y="7615645"/>
                </a:lnTo>
                <a:lnTo>
                  <a:pt x="9792198" y="7681890"/>
                </a:lnTo>
                <a:lnTo>
                  <a:pt x="9770531" y="7717555"/>
                </a:lnTo>
                <a:lnTo>
                  <a:pt x="9489477" y="7717555"/>
                </a:lnTo>
                <a:close/>
                <a:moveTo>
                  <a:pt x="8666557" y="7615645"/>
                </a:moveTo>
                <a:lnTo>
                  <a:pt x="9177379" y="7615645"/>
                </a:lnTo>
                <a:lnTo>
                  <a:pt x="9177379" y="7717555"/>
                </a:lnTo>
                <a:lnTo>
                  <a:pt x="8666557" y="7717555"/>
                </a:lnTo>
                <a:close/>
                <a:moveTo>
                  <a:pt x="2322721" y="7503545"/>
                </a:moveTo>
                <a:cubicBezTo>
                  <a:pt x="2232276" y="7503545"/>
                  <a:pt x="2159665" y="7576155"/>
                  <a:pt x="2159665" y="7666599"/>
                </a:cubicBezTo>
                <a:cubicBezTo>
                  <a:pt x="2159665" y="7757045"/>
                  <a:pt x="2232276" y="7829655"/>
                  <a:pt x="2322721" y="7829655"/>
                </a:cubicBezTo>
                <a:cubicBezTo>
                  <a:pt x="2411891" y="7828381"/>
                  <a:pt x="2485776" y="7755769"/>
                  <a:pt x="2485776" y="7666599"/>
                </a:cubicBezTo>
                <a:cubicBezTo>
                  <a:pt x="2485776" y="7576155"/>
                  <a:pt x="2413167" y="7503545"/>
                  <a:pt x="2322721" y="7503545"/>
                </a:cubicBezTo>
                <a:close/>
                <a:moveTo>
                  <a:pt x="8046180" y="7410553"/>
                </a:moveTo>
                <a:lnTo>
                  <a:pt x="8148089" y="7410553"/>
                </a:lnTo>
                <a:lnTo>
                  <a:pt x="8148089" y="7921375"/>
                </a:lnTo>
                <a:lnTo>
                  <a:pt x="8046180" y="7921375"/>
                </a:lnTo>
                <a:close/>
                <a:moveTo>
                  <a:pt x="1447573" y="7410553"/>
                </a:moveTo>
                <a:lnTo>
                  <a:pt x="1549483" y="7410553"/>
                </a:lnTo>
                <a:lnTo>
                  <a:pt x="1549483" y="7921375"/>
                </a:lnTo>
                <a:lnTo>
                  <a:pt x="1447573" y="7921375"/>
                </a:lnTo>
                <a:close/>
                <a:moveTo>
                  <a:pt x="2322721" y="7401633"/>
                </a:moveTo>
                <a:cubicBezTo>
                  <a:pt x="2469216" y="7401633"/>
                  <a:pt x="2587686" y="7520105"/>
                  <a:pt x="2587686" y="7666599"/>
                </a:cubicBezTo>
                <a:cubicBezTo>
                  <a:pt x="2587686" y="7813095"/>
                  <a:pt x="2469216" y="7931565"/>
                  <a:pt x="2322721" y="7931565"/>
                </a:cubicBezTo>
                <a:cubicBezTo>
                  <a:pt x="2176225" y="7930291"/>
                  <a:pt x="2057755" y="7811821"/>
                  <a:pt x="2057755" y="7666599"/>
                </a:cubicBezTo>
                <a:cubicBezTo>
                  <a:pt x="2057755" y="7520105"/>
                  <a:pt x="2176225" y="7401633"/>
                  <a:pt x="2322721" y="7401633"/>
                </a:cubicBezTo>
                <a:close/>
                <a:moveTo>
                  <a:pt x="674333" y="7401633"/>
                </a:moveTo>
                <a:cubicBezTo>
                  <a:pt x="820829" y="7401633"/>
                  <a:pt x="939299" y="7520105"/>
                  <a:pt x="939299" y="7666599"/>
                </a:cubicBezTo>
                <a:cubicBezTo>
                  <a:pt x="939299" y="7776471"/>
                  <a:pt x="872660" y="7870579"/>
                  <a:pt x="777537" y="7910765"/>
                </a:cubicBezTo>
                <a:lnTo>
                  <a:pt x="769452" y="7913271"/>
                </a:lnTo>
                <a:lnTo>
                  <a:pt x="713980" y="7821961"/>
                </a:lnTo>
                <a:lnTo>
                  <a:pt x="739241" y="7816897"/>
                </a:lnTo>
                <a:cubicBezTo>
                  <a:pt x="797819" y="7792235"/>
                  <a:pt x="838662" y="7734434"/>
                  <a:pt x="838662" y="7666599"/>
                </a:cubicBezTo>
                <a:cubicBezTo>
                  <a:pt x="838662" y="7576155"/>
                  <a:pt x="766051" y="7503545"/>
                  <a:pt x="675607" y="7503545"/>
                </a:cubicBezTo>
                <a:cubicBezTo>
                  <a:pt x="652996" y="7503545"/>
                  <a:pt x="631500" y="7508083"/>
                  <a:pt x="611973" y="7516304"/>
                </a:cubicBezTo>
                <a:lnTo>
                  <a:pt x="564501" y="7548238"/>
                </a:lnTo>
                <a:lnTo>
                  <a:pt x="518632" y="7453019"/>
                </a:lnTo>
                <a:lnTo>
                  <a:pt x="526119" y="7446844"/>
                </a:lnTo>
                <a:cubicBezTo>
                  <a:pt x="568403" y="7418293"/>
                  <a:pt x="619397" y="7401633"/>
                  <a:pt x="674333" y="7401633"/>
                </a:cubicBezTo>
                <a:close/>
                <a:moveTo>
                  <a:pt x="8148089" y="7094869"/>
                </a:moveTo>
                <a:lnTo>
                  <a:pt x="8148089" y="7097179"/>
                </a:lnTo>
                <a:lnTo>
                  <a:pt x="8146686" y="7097179"/>
                </a:lnTo>
                <a:close/>
                <a:moveTo>
                  <a:pt x="8665281" y="6791449"/>
                </a:moveTo>
                <a:lnTo>
                  <a:pt x="9176104" y="6791449"/>
                </a:lnTo>
                <a:lnTo>
                  <a:pt x="9176104" y="6893357"/>
                </a:lnTo>
                <a:lnTo>
                  <a:pt x="8665281" y="6893357"/>
                </a:lnTo>
                <a:close/>
                <a:moveTo>
                  <a:pt x="2066681" y="6791449"/>
                </a:moveTo>
                <a:lnTo>
                  <a:pt x="2098040" y="6791449"/>
                </a:lnTo>
                <a:lnTo>
                  <a:pt x="2133958" y="6866010"/>
                </a:lnTo>
                <a:lnTo>
                  <a:pt x="2150572" y="6893357"/>
                </a:lnTo>
                <a:lnTo>
                  <a:pt x="2066681" y="6893357"/>
                </a:lnTo>
                <a:close/>
                <a:moveTo>
                  <a:pt x="419562" y="6791449"/>
                </a:moveTo>
                <a:lnTo>
                  <a:pt x="930385" y="6791449"/>
                </a:lnTo>
                <a:lnTo>
                  <a:pt x="930385" y="6893357"/>
                </a:lnTo>
                <a:lnTo>
                  <a:pt x="419562" y="6893357"/>
                </a:lnTo>
                <a:close/>
                <a:moveTo>
                  <a:pt x="9745526" y="6679349"/>
                </a:moveTo>
                <a:cubicBezTo>
                  <a:pt x="9655081" y="6679349"/>
                  <a:pt x="9582469" y="6751961"/>
                  <a:pt x="9582469" y="6842405"/>
                </a:cubicBezTo>
                <a:cubicBezTo>
                  <a:pt x="9582469" y="6932849"/>
                  <a:pt x="9655081" y="7005461"/>
                  <a:pt x="9745526" y="7005461"/>
                </a:cubicBezTo>
                <a:cubicBezTo>
                  <a:pt x="9835970" y="7005461"/>
                  <a:pt x="9908582" y="6932849"/>
                  <a:pt x="9908582" y="6842405"/>
                </a:cubicBezTo>
                <a:cubicBezTo>
                  <a:pt x="9908582" y="6751961"/>
                  <a:pt x="9835970" y="6679349"/>
                  <a:pt x="9745526" y="6679349"/>
                </a:cubicBezTo>
                <a:close/>
                <a:moveTo>
                  <a:pt x="1498533" y="6679349"/>
                </a:moveTo>
                <a:cubicBezTo>
                  <a:pt x="1408088" y="6679349"/>
                  <a:pt x="1335477" y="6751961"/>
                  <a:pt x="1335477" y="6842405"/>
                </a:cubicBezTo>
                <a:cubicBezTo>
                  <a:pt x="1335477" y="6932849"/>
                  <a:pt x="1408088" y="7005461"/>
                  <a:pt x="1498533" y="7005461"/>
                </a:cubicBezTo>
                <a:cubicBezTo>
                  <a:pt x="1588977" y="7005461"/>
                  <a:pt x="1661588" y="6932849"/>
                  <a:pt x="1661588" y="6842405"/>
                </a:cubicBezTo>
                <a:cubicBezTo>
                  <a:pt x="1661588" y="6751961"/>
                  <a:pt x="1588977" y="6679349"/>
                  <a:pt x="1498533" y="6679349"/>
                </a:cubicBezTo>
                <a:close/>
                <a:moveTo>
                  <a:pt x="9744252" y="6577439"/>
                </a:moveTo>
                <a:cubicBezTo>
                  <a:pt x="9890747" y="6577439"/>
                  <a:pt x="10009217" y="6695909"/>
                  <a:pt x="10009217" y="6842405"/>
                </a:cubicBezTo>
                <a:cubicBezTo>
                  <a:pt x="10009217" y="6988901"/>
                  <a:pt x="9890747" y="7107369"/>
                  <a:pt x="9744252" y="7107369"/>
                </a:cubicBezTo>
                <a:cubicBezTo>
                  <a:pt x="9597757" y="7107369"/>
                  <a:pt x="9479286" y="6988901"/>
                  <a:pt x="9479286" y="6842405"/>
                </a:cubicBezTo>
                <a:cubicBezTo>
                  <a:pt x="9479286" y="6695909"/>
                  <a:pt x="9597757" y="6577439"/>
                  <a:pt x="9744252" y="6577439"/>
                </a:cubicBezTo>
                <a:close/>
                <a:moveTo>
                  <a:pt x="1499807" y="6577439"/>
                </a:moveTo>
                <a:cubicBezTo>
                  <a:pt x="1646302" y="6577439"/>
                  <a:pt x="1764771" y="6695909"/>
                  <a:pt x="1764771" y="6842405"/>
                </a:cubicBezTo>
                <a:cubicBezTo>
                  <a:pt x="1764771" y="6988901"/>
                  <a:pt x="1646302" y="7107369"/>
                  <a:pt x="1499807" y="7107369"/>
                </a:cubicBezTo>
                <a:cubicBezTo>
                  <a:pt x="1353311" y="7107369"/>
                  <a:pt x="1234841" y="6988901"/>
                  <a:pt x="1234841" y="6842405"/>
                </a:cubicBezTo>
                <a:cubicBezTo>
                  <a:pt x="1234841" y="6695909"/>
                  <a:pt x="1353311" y="6577439"/>
                  <a:pt x="1499807" y="6577439"/>
                </a:cubicBezTo>
                <a:close/>
                <a:moveTo>
                  <a:pt x="8921331" y="5855153"/>
                </a:moveTo>
                <a:cubicBezTo>
                  <a:pt x="8830884" y="5855153"/>
                  <a:pt x="8758274" y="5927763"/>
                  <a:pt x="8758274" y="6018209"/>
                </a:cubicBezTo>
                <a:cubicBezTo>
                  <a:pt x="8758274" y="6108653"/>
                  <a:pt x="8830884" y="6181265"/>
                  <a:pt x="8921331" y="6181265"/>
                </a:cubicBezTo>
                <a:cubicBezTo>
                  <a:pt x="9011775" y="6181265"/>
                  <a:pt x="9084385" y="6108653"/>
                  <a:pt x="9084385" y="6018209"/>
                </a:cubicBezTo>
                <a:cubicBezTo>
                  <a:pt x="9084385" y="5927763"/>
                  <a:pt x="9011775" y="5855153"/>
                  <a:pt x="8921331" y="5855153"/>
                </a:cubicBezTo>
                <a:close/>
                <a:moveTo>
                  <a:pt x="674337" y="5855153"/>
                </a:moveTo>
                <a:cubicBezTo>
                  <a:pt x="583892" y="5855153"/>
                  <a:pt x="511282" y="5927763"/>
                  <a:pt x="511282" y="6018209"/>
                </a:cubicBezTo>
                <a:cubicBezTo>
                  <a:pt x="511282" y="6108653"/>
                  <a:pt x="583892" y="6181265"/>
                  <a:pt x="674337" y="6181265"/>
                </a:cubicBezTo>
                <a:cubicBezTo>
                  <a:pt x="764782" y="6181265"/>
                  <a:pt x="837393" y="6108653"/>
                  <a:pt x="837393" y="6018209"/>
                </a:cubicBezTo>
                <a:cubicBezTo>
                  <a:pt x="837393" y="5927763"/>
                  <a:pt x="764782" y="5855153"/>
                  <a:pt x="674337" y="5855153"/>
                </a:cubicBezTo>
                <a:close/>
                <a:moveTo>
                  <a:pt x="10375356" y="5854333"/>
                </a:moveTo>
                <a:lnTo>
                  <a:pt x="10334572" y="6121561"/>
                </a:lnTo>
                <a:lnTo>
                  <a:pt x="10334472" y="6121413"/>
                </a:lnTo>
                <a:cubicBezTo>
                  <a:pt x="10321077" y="6089706"/>
                  <a:pt x="10313672" y="6054833"/>
                  <a:pt x="10313672" y="6018209"/>
                </a:cubicBezTo>
                <a:cubicBezTo>
                  <a:pt x="10313672" y="5981585"/>
                  <a:pt x="10321077" y="5946713"/>
                  <a:pt x="10334472" y="5915005"/>
                </a:cubicBezTo>
                <a:close/>
                <a:moveTo>
                  <a:pt x="9694571" y="5763433"/>
                </a:moveTo>
                <a:lnTo>
                  <a:pt x="9796481" y="5763433"/>
                </a:lnTo>
                <a:lnTo>
                  <a:pt x="9796481" y="6274257"/>
                </a:lnTo>
                <a:lnTo>
                  <a:pt x="9694571" y="6274257"/>
                </a:lnTo>
                <a:close/>
                <a:moveTo>
                  <a:pt x="1447575" y="5763433"/>
                </a:moveTo>
                <a:lnTo>
                  <a:pt x="1549485" y="5763433"/>
                </a:lnTo>
                <a:lnTo>
                  <a:pt x="1549485" y="6274257"/>
                </a:lnTo>
                <a:lnTo>
                  <a:pt x="1447575" y="6274257"/>
                </a:lnTo>
                <a:close/>
                <a:moveTo>
                  <a:pt x="8922604" y="5753243"/>
                </a:moveTo>
                <a:cubicBezTo>
                  <a:pt x="9069099" y="5753243"/>
                  <a:pt x="9187569" y="5871713"/>
                  <a:pt x="9187569" y="6018209"/>
                </a:cubicBezTo>
                <a:cubicBezTo>
                  <a:pt x="9187569" y="6164705"/>
                  <a:pt x="9069099" y="6283173"/>
                  <a:pt x="8922604" y="6283173"/>
                </a:cubicBezTo>
                <a:cubicBezTo>
                  <a:pt x="8776109" y="6283173"/>
                  <a:pt x="8657638" y="6164705"/>
                  <a:pt x="8657638" y="6018209"/>
                </a:cubicBezTo>
                <a:cubicBezTo>
                  <a:pt x="8657638" y="5871713"/>
                  <a:pt x="8776109" y="5753243"/>
                  <a:pt x="8922604" y="5753243"/>
                </a:cubicBezTo>
                <a:close/>
                <a:moveTo>
                  <a:pt x="675610" y="5753243"/>
                </a:moveTo>
                <a:cubicBezTo>
                  <a:pt x="822108" y="5753243"/>
                  <a:pt x="940577" y="5871713"/>
                  <a:pt x="940577" y="6018209"/>
                </a:cubicBezTo>
                <a:cubicBezTo>
                  <a:pt x="940577" y="6164705"/>
                  <a:pt x="822108" y="6283173"/>
                  <a:pt x="675610" y="6283173"/>
                </a:cubicBezTo>
                <a:cubicBezTo>
                  <a:pt x="529116" y="6283173"/>
                  <a:pt x="410646" y="6164705"/>
                  <a:pt x="410646" y="6018209"/>
                </a:cubicBezTo>
                <a:cubicBezTo>
                  <a:pt x="410646" y="5871713"/>
                  <a:pt x="529116" y="5753243"/>
                  <a:pt x="675610" y="5753243"/>
                </a:cubicBezTo>
                <a:close/>
                <a:moveTo>
                  <a:pt x="9489477" y="5143057"/>
                </a:moveTo>
                <a:lnTo>
                  <a:pt x="10000300" y="5143057"/>
                </a:lnTo>
                <a:lnTo>
                  <a:pt x="10000300" y="5244969"/>
                </a:lnTo>
                <a:lnTo>
                  <a:pt x="9489477" y="5244969"/>
                </a:lnTo>
                <a:close/>
                <a:moveTo>
                  <a:pt x="8706634" y="5143057"/>
                </a:moveTo>
                <a:lnTo>
                  <a:pt x="9176104" y="5143057"/>
                </a:lnTo>
                <a:lnTo>
                  <a:pt x="9176104" y="5244969"/>
                </a:lnTo>
                <a:lnTo>
                  <a:pt x="8707060" y="5244969"/>
                </a:lnTo>
                <a:lnTo>
                  <a:pt x="8709420" y="5198237"/>
                </a:lnTo>
                <a:close/>
                <a:moveTo>
                  <a:pt x="1242485" y="5143057"/>
                </a:moveTo>
                <a:lnTo>
                  <a:pt x="1714449" y="5143057"/>
                </a:lnTo>
                <a:lnTo>
                  <a:pt x="1711662" y="5198237"/>
                </a:lnTo>
                <a:lnTo>
                  <a:pt x="1714022" y="5244969"/>
                </a:lnTo>
                <a:lnTo>
                  <a:pt x="1242485" y="5244969"/>
                </a:lnTo>
                <a:close/>
                <a:moveTo>
                  <a:pt x="2787" y="5143057"/>
                </a:moveTo>
                <a:lnTo>
                  <a:pt x="97302" y="5143057"/>
                </a:lnTo>
                <a:lnTo>
                  <a:pt x="97302" y="5244969"/>
                </a:lnTo>
                <a:lnTo>
                  <a:pt x="2360" y="5244969"/>
                </a:lnTo>
                <a:lnTo>
                  <a:pt x="0" y="5198237"/>
                </a:lnTo>
                <a:close/>
                <a:moveTo>
                  <a:pt x="623389" y="4939239"/>
                </a:moveTo>
                <a:lnTo>
                  <a:pt x="725299" y="4939239"/>
                </a:lnTo>
                <a:lnTo>
                  <a:pt x="725299" y="5450061"/>
                </a:lnTo>
                <a:lnTo>
                  <a:pt x="623389" y="5450061"/>
                </a:lnTo>
                <a:close/>
                <a:moveTo>
                  <a:pt x="86723" y="4273524"/>
                </a:moveTo>
                <a:lnTo>
                  <a:pt x="106218" y="4371093"/>
                </a:lnTo>
                <a:cubicBezTo>
                  <a:pt x="106218" y="4407717"/>
                  <a:pt x="98813" y="4442589"/>
                  <a:pt x="85418" y="4474296"/>
                </a:cubicBezTo>
                <a:lnTo>
                  <a:pt x="47492" y="4530579"/>
                </a:lnTo>
                <a:close/>
                <a:moveTo>
                  <a:pt x="9745526" y="4208037"/>
                </a:moveTo>
                <a:cubicBezTo>
                  <a:pt x="9655081" y="4208037"/>
                  <a:pt x="9582469" y="4280647"/>
                  <a:pt x="9582469" y="4371093"/>
                </a:cubicBezTo>
                <a:cubicBezTo>
                  <a:pt x="9582469" y="4461537"/>
                  <a:pt x="9655081" y="4534147"/>
                  <a:pt x="9745526" y="4534147"/>
                </a:cubicBezTo>
                <a:cubicBezTo>
                  <a:pt x="9835970" y="4534147"/>
                  <a:pt x="9908582" y="4461537"/>
                  <a:pt x="9908582" y="4371093"/>
                </a:cubicBezTo>
                <a:cubicBezTo>
                  <a:pt x="9908582" y="4280647"/>
                  <a:pt x="9835970" y="4208037"/>
                  <a:pt x="9745526" y="4208037"/>
                </a:cubicBezTo>
                <a:close/>
                <a:moveTo>
                  <a:pt x="1498539" y="4208037"/>
                </a:moveTo>
                <a:cubicBezTo>
                  <a:pt x="1408093" y="4208037"/>
                  <a:pt x="1335482" y="4280647"/>
                  <a:pt x="1335482" y="4371093"/>
                </a:cubicBezTo>
                <a:cubicBezTo>
                  <a:pt x="1335482" y="4461537"/>
                  <a:pt x="1408093" y="4534147"/>
                  <a:pt x="1498539" y="4534147"/>
                </a:cubicBezTo>
                <a:cubicBezTo>
                  <a:pt x="1588983" y="4534147"/>
                  <a:pt x="1661593" y="4461537"/>
                  <a:pt x="1661593" y="4371093"/>
                </a:cubicBezTo>
                <a:cubicBezTo>
                  <a:pt x="1661593" y="4280647"/>
                  <a:pt x="1588983" y="4208037"/>
                  <a:pt x="1498539" y="4208037"/>
                </a:cubicBezTo>
                <a:close/>
                <a:moveTo>
                  <a:pt x="8870376" y="4115043"/>
                </a:moveTo>
                <a:lnTo>
                  <a:pt x="8972285" y="4115043"/>
                </a:lnTo>
                <a:lnTo>
                  <a:pt x="8972285" y="4625865"/>
                </a:lnTo>
                <a:lnTo>
                  <a:pt x="8870376" y="4625865"/>
                </a:lnTo>
                <a:close/>
                <a:moveTo>
                  <a:pt x="623387" y="4115043"/>
                </a:moveTo>
                <a:lnTo>
                  <a:pt x="725297" y="4115043"/>
                </a:lnTo>
                <a:lnTo>
                  <a:pt x="725297" y="4625865"/>
                </a:lnTo>
                <a:lnTo>
                  <a:pt x="623387" y="4625865"/>
                </a:lnTo>
                <a:close/>
                <a:moveTo>
                  <a:pt x="9744252" y="4106125"/>
                </a:moveTo>
                <a:cubicBezTo>
                  <a:pt x="9890747" y="4106125"/>
                  <a:pt x="10009217" y="4224597"/>
                  <a:pt x="10009217" y="4371093"/>
                </a:cubicBezTo>
                <a:cubicBezTo>
                  <a:pt x="10009217" y="4517587"/>
                  <a:pt x="9890747" y="4636057"/>
                  <a:pt x="9744252" y="4636057"/>
                </a:cubicBezTo>
                <a:cubicBezTo>
                  <a:pt x="9597757" y="4636057"/>
                  <a:pt x="9479286" y="4517587"/>
                  <a:pt x="9479286" y="4371093"/>
                </a:cubicBezTo>
                <a:cubicBezTo>
                  <a:pt x="9479286" y="4224597"/>
                  <a:pt x="9597757" y="4106125"/>
                  <a:pt x="9744252" y="4106125"/>
                </a:cubicBezTo>
                <a:close/>
                <a:moveTo>
                  <a:pt x="1499812" y="4106125"/>
                </a:moveTo>
                <a:cubicBezTo>
                  <a:pt x="1646307" y="4106125"/>
                  <a:pt x="1764778" y="4224597"/>
                  <a:pt x="1764778" y="4371093"/>
                </a:cubicBezTo>
                <a:cubicBezTo>
                  <a:pt x="1764778" y="4517587"/>
                  <a:pt x="1646307" y="4636057"/>
                  <a:pt x="1499812" y="4636057"/>
                </a:cubicBezTo>
                <a:cubicBezTo>
                  <a:pt x="1353316" y="4634783"/>
                  <a:pt x="1234846" y="4517587"/>
                  <a:pt x="1234846" y="4371093"/>
                </a:cubicBezTo>
                <a:cubicBezTo>
                  <a:pt x="1234846" y="4224597"/>
                  <a:pt x="1353316" y="4106125"/>
                  <a:pt x="1499812" y="4106125"/>
                </a:cubicBezTo>
                <a:close/>
                <a:moveTo>
                  <a:pt x="9489477" y="3495941"/>
                </a:moveTo>
                <a:lnTo>
                  <a:pt x="10000300" y="3495941"/>
                </a:lnTo>
                <a:lnTo>
                  <a:pt x="10000300" y="3597851"/>
                </a:lnTo>
                <a:lnTo>
                  <a:pt x="9489477" y="3597851"/>
                </a:lnTo>
                <a:close/>
                <a:moveTo>
                  <a:pt x="2066685" y="3495941"/>
                </a:moveTo>
                <a:lnTo>
                  <a:pt x="2154931" y="3495941"/>
                </a:lnTo>
                <a:lnTo>
                  <a:pt x="2133958" y="3530464"/>
                </a:lnTo>
                <a:lnTo>
                  <a:pt x="2101496" y="3597851"/>
                </a:lnTo>
                <a:lnTo>
                  <a:pt x="2066685" y="3597851"/>
                </a:lnTo>
                <a:close/>
                <a:moveTo>
                  <a:pt x="674343" y="3383841"/>
                </a:moveTo>
                <a:cubicBezTo>
                  <a:pt x="583899" y="3383841"/>
                  <a:pt x="511289" y="3456451"/>
                  <a:pt x="511289" y="3546897"/>
                </a:cubicBezTo>
                <a:cubicBezTo>
                  <a:pt x="511289" y="3637341"/>
                  <a:pt x="583899" y="3709953"/>
                  <a:pt x="674343" y="3709953"/>
                </a:cubicBezTo>
                <a:cubicBezTo>
                  <a:pt x="764789" y="3709953"/>
                  <a:pt x="837399" y="3637341"/>
                  <a:pt x="837399" y="3546897"/>
                </a:cubicBezTo>
                <a:cubicBezTo>
                  <a:pt x="837399" y="3456451"/>
                  <a:pt x="764789" y="3383841"/>
                  <a:pt x="674343" y="3383841"/>
                </a:cubicBezTo>
                <a:close/>
                <a:moveTo>
                  <a:pt x="8870376" y="3292121"/>
                </a:moveTo>
                <a:lnTo>
                  <a:pt x="8972285" y="3292121"/>
                </a:lnTo>
                <a:lnTo>
                  <a:pt x="8972285" y="3802945"/>
                </a:lnTo>
                <a:lnTo>
                  <a:pt x="8870376" y="3802945"/>
                </a:lnTo>
                <a:close/>
                <a:moveTo>
                  <a:pt x="8142327" y="3292121"/>
                </a:moveTo>
                <a:lnTo>
                  <a:pt x="8148089" y="3292121"/>
                </a:lnTo>
                <a:lnTo>
                  <a:pt x="8148089" y="3301606"/>
                </a:lnTo>
                <a:close/>
                <a:moveTo>
                  <a:pt x="1447583" y="3292121"/>
                </a:moveTo>
                <a:lnTo>
                  <a:pt x="1549493" y="3292121"/>
                </a:lnTo>
                <a:lnTo>
                  <a:pt x="1549493" y="3802945"/>
                </a:lnTo>
                <a:lnTo>
                  <a:pt x="1447583" y="3802945"/>
                </a:lnTo>
                <a:close/>
                <a:moveTo>
                  <a:pt x="675617" y="3281931"/>
                </a:moveTo>
                <a:cubicBezTo>
                  <a:pt x="822113" y="3281931"/>
                  <a:pt x="940583" y="3400401"/>
                  <a:pt x="940583" y="3546897"/>
                </a:cubicBezTo>
                <a:cubicBezTo>
                  <a:pt x="940583" y="3693393"/>
                  <a:pt x="822113" y="3811861"/>
                  <a:pt x="675617" y="3811861"/>
                </a:cubicBezTo>
                <a:cubicBezTo>
                  <a:pt x="529123" y="3811861"/>
                  <a:pt x="410652" y="3693393"/>
                  <a:pt x="410652" y="3546897"/>
                </a:cubicBezTo>
                <a:cubicBezTo>
                  <a:pt x="410652" y="3400401"/>
                  <a:pt x="529123" y="3281931"/>
                  <a:pt x="675617" y="3281931"/>
                </a:cubicBezTo>
                <a:close/>
                <a:moveTo>
                  <a:pt x="1242482" y="2671745"/>
                </a:moveTo>
                <a:lnTo>
                  <a:pt x="1753305" y="2671745"/>
                </a:lnTo>
                <a:lnTo>
                  <a:pt x="1753305" y="2773657"/>
                </a:lnTo>
                <a:lnTo>
                  <a:pt x="1242482" y="2773657"/>
                </a:lnTo>
                <a:close/>
                <a:moveTo>
                  <a:pt x="8921331" y="2560919"/>
                </a:moveTo>
                <a:cubicBezTo>
                  <a:pt x="8832160" y="2560919"/>
                  <a:pt x="8758275" y="2633529"/>
                  <a:pt x="8758275" y="2723975"/>
                </a:cubicBezTo>
                <a:cubicBezTo>
                  <a:pt x="8758275" y="2814419"/>
                  <a:pt x="8830885" y="2887029"/>
                  <a:pt x="8921331" y="2887029"/>
                </a:cubicBezTo>
                <a:cubicBezTo>
                  <a:pt x="9011776" y="2887029"/>
                  <a:pt x="9084386" y="2814419"/>
                  <a:pt x="9084386" y="2723975"/>
                </a:cubicBezTo>
                <a:cubicBezTo>
                  <a:pt x="9084386" y="2633529"/>
                  <a:pt x="9011776" y="2560919"/>
                  <a:pt x="8921331" y="2560919"/>
                </a:cubicBezTo>
                <a:close/>
                <a:moveTo>
                  <a:pt x="2322726" y="2560919"/>
                </a:moveTo>
                <a:cubicBezTo>
                  <a:pt x="2232282" y="2560919"/>
                  <a:pt x="2159671" y="2633529"/>
                  <a:pt x="2159671" y="2723975"/>
                </a:cubicBezTo>
                <a:cubicBezTo>
                  <a:pt x="2159671" y="2814419"/>
                  <a:pt x="2232282" y="2887029"/>
                  <a:pt x="2322726" y="2887029"/>
                </a:cubicBezTo>
                <a:cubicBezTo>
                  <a:pt x="2411897" y="2885757"/>
                  <a:pt x="2485782" y="2813145"/>
                  <a:pt x="2485782" y="2723975"/>
                </a:cubicBezTo>
                <a:cubicBezTo>
                  <a:pt x="2485782" y="2633529"/>
                  <a:pt x="2413173" y="2560919"/>
                  <a:pt x="2322726" y="2560919"/>
                </a:cubicBezTo>
                <a:close/>
                <a:moveTo>
                  <a:pt x="9694571" y="2553886"/>
                </a:moveTo>
                <a:lnTo>
                  <a:pt x="9792198" y="2714584"/>
                </a:lnTo>
                <a:lnTo>
                  <a:pt x="9796481" y="2723476"/>
                </a:lnTo>
                <a:lnTo>
                  <a:pt x="9796481" y="2978749"/>
                </a:lnTo>
                <a:lnTo>
                  <a:pt x="9694571" y="2978749"/>
                </a:lnTo>
                <a:close/>
                <a:moveTo>
                  <a:pt x="772671" y="2477905"/>
                </a:moveTo>
                <a:lnTo>
                  <a:pt x="778813" y="2479809"/>
                </a:lnTo>
                <a:cubicBezTo>
                  <a:pt x="873936" y="2519996"/>
                  <a:pt x="940575" y="2614103"/>
                  <a:pt x="940575" y="2723975"/>
                </a:cubicBezTo>
                <a:cubicBezTo>
                  <a:pt x="940575" y="2870469"/>
                  <a:pt x="822106" y="2988941"/>
                  <a:pt x="675608" y="2988941"/>
                </a:cubicBezTo>
                <a:cubicBezTo>
                  <a:pt x="620673" y="2988463"/>
                  <a:pt x="569678" y="2971504"/>
                  <a:pt x="527394" y="2942835"/>
                </a:cubicBezTo>
                <a:lnTo>
                  <a:pt x="521341" y="2937832"/>
                </a:lnTo>
                <a:lnTo>
                  <a:pt x="566336" y="2844427"/>
                </a:lnTo>
                <a:lnTo>
                  <a:pt x="610701" y="2874271"/>
                </a:lnTo>
                <a:cubicBezTo>
                  <a:pt x="630227" y="2882491"/>
                  <a:pt x="651723" y="2887029"/>
                  <a:pt x="674334" y="2887029"/>
                </a:cubicBezTo>
                <a:cubicBezTo>
                  <a:pt x="764780" y="2885757"/>
                  <a:pt x="837390" y="2813145"/>
                  <a:pt x="837390" y="2723975"/>
                </a:cubicBezTo>
                <a:cubicBezTo>
                  <a:pt x="837390" y="2656141"/>
                  <a:pt x="796547" y="2598339"/>
                  <a:pt x="737968" y="2573678"/>
                </a:cubicBezTo>
                <a:lnTo>
                  <a:pt x="717037" y="2569481"/>
                </a:lnTo>
                <a:close/>
                <a:moveTo>
                  <a:pt x="8046180" y="2467925"/>
                </a:moveTo>
                <a:lnTo>
                  <a:pt x="8148089" y="2467925"/>
                </a:lnTo>
                <a:lnTo>
                  <a:pt x="8148089" y="2978749"/>
                </a:lnTo>
                <a:lnTo>
                  <a:pt x="8046180" y="2978749"/>
                </a:lnTo>
                <a:close/>
                <a:moveTo>
                  <a:pt x="8921331" y="2459009"/>
                </a:moveTo>
                <a:cubicBezTo>
                  <a:pt x="9067826" y="2459009"/>
                  <a:pt x="9186296" y="2577479"/>
                  <a:pt x="9186296" y="2723975"/>
                </a:cubicBezTo>
                <a:cubicBezTo>
                  <a:pt x="9186296" y="2870469"/>
                  <a:pt x="9067826" y="2988941"/>
                  <a:pt x="8921331" y="2988941"/>
                </a:cubicBezTo>
                <a:cubicBezTo>
                  <a:pt x="8774836" y="2988941"/>
                  <a:pt x="8656365" y="2870469"/>
                  <a:pt x="8656365" y="2723975"/>
                </a:cubicBezTo>
                <a:cubicBezTo>
                  <a:pt x="8656365" y="2577479"/>
                  <a:pt x="8774836" y="2459009"/>
                  <a:pt x="8921331" y="2459009"/>
                </a:cubicBezTo>
                <a:close/>
                <a:moveTo>
                  <a:pt x="2322726" y="2459009"/>
                </a:moveTo>
                <a:cubicBezTo>
                  <a:pt x="2469222" y="2459009"/>
                  <a:pt x="2587692" y="2577479"/>
                  <a:pt x="2587692" y="2723975"/>
                </a:cubicBezTo>
                <a:cubicBezTo>
                  <a:pt x="2587692" y="2870469"/>
                  <a:pt x="2469222" y="2988941"/>
                  <a:pt x="2322726" y="2988941"/>
                </a:cubicBezTo>
                <a:cubicBezTo>
                  <a:pt x="2176232" y="2988941"/>
                  <a:pt x="2057761" y="2869197"/>
                  <a:pt x="2057761" y="2723975"/>
                </a:cubicBezTo>
                <a:cubicBezTo>
                  <a:pt x="2057761" y="2577479"/>
                  <a:pt x="2176232" y="2459009"/>
                  <a:pt x="2322726" y="2459009"/>
                </a:cubicBezTo>
                <a:close/>
                <a:moveTo>
                  <a:pt x="7842360" y="1848825"/>
                </a:moveTo>
                <a:lnTo>
                  <a:pt x="8353182" y="1848825"/>
                </a:lnTo>
                <a:lnTo>
                  <a:pt x="8353182" y="1950733"/>
                </a:lnTo>
                <a:lnTo>
                  <a:pt x="7842360" y="1950733"/>
                </a:lnTo>
                <a:close/>
                <a:moveTo>
                  <a:pt x="6223404" y="1848825"/>
                </a:moveTo>
                <a:lnTo>
                  <a:pt x="6704792" y="1848825"/>
                </a:lnTo>
                <a:lnTo>
                  <a:pt x="6704792" y="1950733"/>
                </a:lnTo>
                <a:lnTo>
                  <a:pt x="6512646" y="1950733"/>
                </a:lnTo>
                <a:lnTo>
                  <a:pt x="6413573" y="1911670"/>
                </a:lnTo>
                <a:cubicBezTo>
                  <a:pt x="6359984" y="1892049"/>
                  <a:pt x="6305781" y="1873700"/>
                  <a:pt x="6251001" y="1856662"/>
                </a:cubicBezTo>
                <a:close/>
                <a:moveTo>
                  <a:pt x="2890884" y="1848825"/>
                </a:moveTo>
                <a:lnTo>
                  <a:pt x="3401707" y="1848825"/>
                </a:lnTo>
                <a:lnTo>
                  <a:pt x="3401707" y="1950733"/>
                </a:lnTo>
                <a:lnTo>
                  <a:pt x="2890884" y="1950733"/>
                </a:lnTo>
                <a:close/>
                <a:moveTo>
                  <a:pt x="1242493" y="1848825"/>
                </a:moveTo>
                <a:lnTo>
                  <a:pt x="1753316" y="1848825"/>
                </a:lnTo>
                <a:lnTo>
                  <a:pt x="1753316" y="1950733"/>
                </a:lnTo>
                <a:lnTo>
                  <a:pt x="1242493" y="1950733"/>
                </a:lnTo>
                <a:close/>
                <a:moveTo>
                  <a:pt x="8921331" y="1736725"/>
                </a:moveTo>
                <a:cubicBezTo>
                  <a:pt x="8832160" y="1736725"/>
                  <a:pt x="8758275" y="1809335"/>
                  <a:pt x="8758275" y="1899781"/>
                </a:cubicBezTo>
                <a:cubicBezTo>
                  <a:pt x="8758275" y="1990225"/>
                  <a:pt x="8830885" y="2062835"/>
                  <a:pt x="8921331" y="2062835"/>
                </a:cubicBezTo>
                <a:cubicBezTo>
                  <a:pt x="9011776" y="2062835"/>
                  <a:pt x="9084386" y="1990225"/>
                  <a:pt x="9084386" y="1899781"/>
                </a:cubicBezTo>
                <a:cubicBezTo>
                  <a:pt x="9084386" y="1809335"/>
                  <a:pt x="9011776" y="1736725"/>
                  <a:pt x="8921331" y="1736725"/>
                </a:cubicBezTo>
                <a:close/>
                <a:moveTo>
                  <a:pt x="7223258" y="1643731"/>
                </a:moveTo>
                <a:lnTo>
                  <a:pt x="7325168" y="1643731"/>
                </a:lnTo>
                <a:lnTo>
                  <a:pt x="7325168" y="2154553"/>
                </a:lnTo>
                <a:lnTo>
                  <a:pt x="7223258" y="2154553"/>
                </a:lnTo>
                <a:close/>
                <a:moveTo>
                  <a:pt x="2271782" y="1643731"/>
                </a:moveTo>
                <a:lnTo>
                  <a:pt x="2373691" y="1643731"/>
                </a:lnTo>
                <a:lnTo>
                  <a:pt x="2373691" y="2154553"/>
                </a:lnTo>
                <a:lnTo>
                  <a:pt x="2271782" y="2154553"/>
                </a:lnTo>
                <a:close/>
                <a:moveTo>
                  <a:pt x="8921331" y="1634813"/>
                </a:moveTo>
                <a:cubicBezTo>
                  <a:pt x="8957955" y="1634813"/>
                  <a:pt x="8992827" y="1642218"/>
                  <a:pt x="9024534" y="1655614"/>
                </a:cubicBezTo>
                <a:lnTo>
                  <a:pt x="9036119" y="1661896"/>
                </a:lnTo>
                <a:lnTo>
                  <a:pt x="9067478" y="1694788"/>
                </a:lnTo>
                <a:lnTo>
                  <a:pt x="9168482" y="1811390"/>
                </a:lnTo>
                <a:lnTo>
                  <a:pt x="9186296" y="1899781"/>
                </a:lnTo>
                <a:cubicBezTo>
                  <a:pt x="9186296" y="2046275"/>
                  <a:pt x="9067826" y="2164745"/>
                  <a:pt x="8921331" y="2164745"/>
                </a:cubicBezTo>
                <a:cubicBezTo>
                  <a:pt x="8774836" y="2164745"/>
                  <a:pt x="8656365" y="2046275"/>
                  <a:pt x="8656365" y="1899781"/>
                </a:cubicBezTo>
                <a:cubicBezTo>
                  <a:pt x="8656365" y="1753285"/>
                  <a:pt x="8774836" y="1634813"/>
                  <a:pt x="8921331" y="1634813"/>
                </a:cubicBezTo>
                <a:close/>
                <a:moveTo>
                  <a:pt x="3969851" y="1634813"/>
                </a:moveTo>
                <a:cubicBezTo>
                  <a:pt x="4079723" y="1634813"/>
                  <a:pt x="4173831" y="1701454"/>
                  <a:pt x="4214017" y="1796577"/>
                </a:cubicBezTo>
                <a:lnTo>
                  <a:pt x="4223093" y="1841608"/>
                </a:lnTo>
                <a:lnTo>
                  <a:pt x="4170081" y="1856662"/>
                </a:lnTo>
                <a:lnTo>
                  <a:pt x="4127174" y="1871180"/>
                </a:lnTo>
                <a:lnTo>
                  <a:pt x="4120150" y="1836147"/>
                </a:lnTo>
                <a:cubicBezTo>
                  <a:pt x="4095488" y="1777568"/>
                  <a:pt x="4037686" y="1736725"/>
                  <a:pt x="3969851" y="1736725"/>
                </a:cubicBezTo>
                <a:cubicBezTo>
                  <a:pt x="3880680" y="1736725"/>
                  <a:pt x="3806796" y="1809335"/>
                  <a:pt x="3806796" y="1899781"/>
                </a:cubicBezTo>
                <a:cubicBezTo>
                  <a:pt x="3806796" y="1922392"/>
                  <a:pt x="3811334" y="1943889"/>
                  <a:pt x="3819555" y="1963414"/>
                </a:cubicBezTo>
                <a:lnTo>
                  <a:pt x="3832208" y="1982224"/>
                </a:lnTo>
                <a:lnTo>
                  <a:pt x="3741230" y="2026051"/>
                </a:lnTo>
                <a:lnTo>
                  <a:pt x="3725686" y="2002984"/>
                </a:lnTo>
                <a:cubicBezTo>
                  <a:pt x="3712291" y="1971277"/>
                  <a:pt x="3704886" y="1936405"/>
                  <a:pt x="3704886" y="1899781"/>
                </a:cubicBezTo>
                <a:cubicBezTo>
                  <a:pt x="3704886" y="1753285"/>
                  <a:pt x="3823356" y="1634813"/>
                  <a:pt x="3969851" y="1634813"/>
                </a:cubicBezTo>
                <a:close/>
                <a:moveTo>
                  <a:pt x="7842360" y="1024629"/>
                </a:moveTo>
                <a:lnTo>
                  <a:pt x="8330359" y="1024629"/>
                </a:lnTo>
                <a:lnTo>
                  <a:pt x="8353182" y="1042565"/>
                </a:lnTo>
                <a:lnTo>
                  <a:pt x="8353182" y="1126539"/>
                </a:lnTo>
                <a:lnTo>
                  <a:pt x="7842360" y="1126539"/>
                </a:lnTo>
                <a:close/>
                <a:moveTo>
                  <a:pt x="5371048" y="1024629"/>
                </a:moveTo>
                <a:lnTo>
                  <a:pt x="5881870" y="1024629"/>
                </a:lnTo>
                <a:lnTo>
                  <a:pt x="5881870" y="1126539"/>
                </a:lnTo>
                <a:lnTo>
                  <a:pt x="5371048" y="1126539"/>
                </a:lnTo>
                <a:close/>
                <a:moveTo>
                  <a:pt x="4538001" y="1024629"/>
                </a:moveTo>
                <a:lnTo>
                  <a:pt x="5048825" y="1024629"/>
                </a:lnTo>
                <a:lnTo>
                  <a:pt x="5048825" y="1126539"/>
                </a:lnTo>
                <a:lnTo>
                  <a:pt x="4538001" y="1126539"/>
                </a:lnTo>
                <a:close/>
                <a:moveTo>
                  <a:pt x="2890886" y="1024629"/>
                </a:moveTo>
                <a:lnTo>
                  <a:pt x="3401709" y="1024629"/>
                </a:lnTo>
                <a:lnTo>
                  <a:pt x="3401709" y="1126539"/>
                </a:lnTo>
                <a:lnTo>
                  <a:pt x="2890886" y="1126539"/>
                </a:lnTo>
                <a:close/>
                <a:moveTo>
                  <a:pt x="6450017" y="912529"/>
                </a:moveTo>
                <a:cubicBezTo>
                  <a:pt x="6359572" y="912529"/>
                  <a:pt x="6286962" y="985139"/>
                  <a:pt x="6286962" y="1075585"/>
                </a:cubicBezTo>
                <a:cubicBezTo>
                  <a:pt x="6286962" y="1166029"/>
                  <a:pt x="6359572" y="1238639"/>
                  <a:pt x="6450017" y="1238639"/>
                </a:cubicBezTo>
                <a:cubicBezTo>
                  <a:pt x="6540463" y="1238639"/>
                  <a:pt x="6613073" y="1166029"/>
                  <a:pt x="6613073" y="1075585"/>
                </a:cubicBezTo>
                <a:cubicBezTo>
                  <a:pt x="6613073" y="985139"/>
                  <a:pt x="6540463" y="912529"/>
                  <a:pt x="6450017" y="912529"/>
                </a:cubicBezTo>
                <a:close/>
                <a:moveTo>
                  <a:pt x="2373692" y="828587"/>
                </a:moveTo>
                <a:lnTo>
                  <a:pt x="2373692" y="1331633"/>
                </a:lnTo>
                <a:lnTo>
                  <a:pt x="2271782" y="1331633"/>
                </a:lnTo>
                <a:lnTo>
                  <a:pt x="2271782" y="895706"/>
                </a:lnTo>
                <a:lnTo>
                  <a:pt x="2297278" y="877575"/>
                </a:lnTo>
                <a:close/>
                <a:moveTo>
                  <a:pt x="7223258" y="820809"/>
                </a:moveTo>
                <a:lnTo>
                  <a:pt x="7325168" y="820809"/>
                </a:lnTo>
                <a:lnTo>
                  <a:pt x="7325168" y="1331633"/>
                </a:lnTo>
                <a:lnTo>
                  <a:pt x="7223258" y="1331633"/>
                </a:lnTo>
                <a:close/>
                <a:moveTo>
                  <a:pt x="3918899" y="820809"/>
                </a:moveTo>
                <a:lnTo>
                  <a:pt x="4020808" y="820809"/>
                </a:lnTo>
                <a:lnTo>
                  <a:pt x="4020808" y="1331633"/>
                </a:lnTo>
                <a:lnTo>
                  <a:pt x="3918899" y="1331633"/>
                </a:lnTo>
                <a:close/>
                <a:moveTo>
                  <a:pt x="6451292" y="810617"/>
                </a:moveTo>
                <a:cubicBezTo>
                  <a:pt x="6597788" y="810617"/>
                  <a:pt x="6716257" y="929089"/>
                  <a:pt x="6716257" y="1075585"/>
                </a:cubicBezTo>
                <a:cubicBezTo>
                  <a:pt x="6716257" y="1222079"/>
                  <a:pt x="6597788" y="1340549"/>
                  <a:pt x="6451292" y="1340549"/>
                </a:cubicBezTo>
                <a:cubicBezTo>
                  <a:pt x="6303522" y="1340549"/>
                  <a:pt x="6186326" y="1222079"/>
                  <a:pt x="6186326" y="1075585"/>
                </a:cubicBezTo>
                <a:cubicBezTo>
                  <a:pt x="6186326" y="929089"/>
                  <a:pt x="6304797" y="810617"/>
                  <a:pt x="6451292" y="810617"/>
                </a:cubicBezTo>
                <a:close/>
                <a:moveTo>
                  <a:pt x="6399063" y="125503"/>
                </a:moveTo>
                <a:lnTo>
                  <a:pt x="6500973" y="149024"/>
                </a:lnTo>
                <a:lnTo>
                  <a:pt x="6500973" y="508711"/>
                </a:lnTo>
                <a:lnTo>
                  <a:pt x="6399063" y="508711"/>
                </a:lnTo>
                <a:close/>
                <a:moveTo>
                  <a:pt x="4743094" y="101073"/>
                </a:moveTo>
                <a:lnTo>
                  <a:pt x="4845004" y="101073"/>
                </a:lnTo>
                <a:lnTo>
                  <a:pt x="4845004" y="508711"/>
                </a:lnTo>
                <a:lnTo>
                  <a:pt x="4743094" y="508711"/>
                </a:lnTo>
                <a:close/>
                <a:moveTo>
                  <a:pt x="4174642" y="91020"/>
                </a:moveTo>
                <a:lnTo>
                  <a:pt x="4214021" y="149458"/>
                </a:lnTo>
                <a:cubicBezTo>
                  <a:pt x="4227416" y="181166"/>
                  <a:pt x="4234820" y="216038"/>
                  <a:pt x="4234820" y="252661"/>
                </a:cubicBezTo>
                <a:cubicBezTo>
                  <a:pt x="4234820" y="399157"/>
                  <a:pt x="4116350" y="517629"/>
                  <a:pt x="3969854" y="517629"/>
                </a:cubicBezTo>
                <a:cubicBezTo>
                  <a:pt x="3823359" y="517629"/>
                  <a:pt x="3704889" y="399157"/>
                  <a:pt x="3704889" y="252661"/>
                </a:cubicBezTo>
                <a:lnTo>
                  <a:pt x="3714113" y="206895"/>
                </a:lnTo>
                <a:lnTo>
                  <a:pt x="3829928" y="174007"/>
                </a:lnTo>
                <a:lnTo>
                  <a:pt x="3819737" y="189028"/>
                </a:lnTo>
                <a:cubicBezTo>
                  <a:pt x="3811417" y="208554"/>
                  <a:pt x="3806799" y="230050"/>
                  <a:pt x="3806799" y="252661"/>
                </a:cubicBezTo>
                <a:cubicBezTo>
                  <a:pt x="3806799" y="343107"/>
                  <a:pt x="3879410" y="415717"/>
                  <a:pt x="3969854" y="415717"/>
                </a:cubicBezTo>
                <a:cubicBezTo>
                  <a:pt x="4060300" y="415717"/>
                  <a:pt x="4132911" y="343107"/>
                  <a:pt x="4132911" y="252661"/>
                </a:cubicBezTo>
                <a:cubicBezTo>
                  <a:pt x="4132911" y="207439"/>
                  <a:pt x="4114759" y="166676"/>
                  <a:pt x="4085300" y="137218"/>
                </a:cubicBezTo>
                <a:lnTo>
                  <a:pt x="4056168" y="117622"/>
                </a:lnTo>
                <a:lnTo>
                  <a:pt x="4160436" y="93557"/>
                </a:lnTo>
                <a:close/>
                <a:moveTo>
                  <a:pt x="5625822" y="89607"/>
                </a:moveTo>
                <a:cubicBezTo>
                  <a:pt x="5535377" y="89607"/>
                  <a:pt x="5462766" y="162217"/>
                  <a:pt x="5462766" y="252661"/>
                </a:cubicBezTo>
                <a:cubicBezTo>
                  <a:pt x="5462766" y="343107"/>
                  <a:pt x="5535377" y="415717"/>
                  <a:pt x="5625822" y="415717"/>
                </a:cubicBezTo>
                <a:cubicBezTo>
                  <a:pt x="5716267" y="414445"/>
                  <a:pt x="5788878" y="341833"/>
                  <a:pt x="5788878" y="252661"/>
                </a:cubicBezTo>
                <a:cubicBezTo>
                  <a:pt x="5788878" y="162217"/>
                  <a:pt x="5716267" y="89607"/>
                  <a:pt x="5625822" y="89607"/>
                </a:cubicBezTo>
                <a:close/>
                <a:moveTo>
                  <a:pt x="5551305" y="0"/>
                </a:moveTo>
                <a:lnTo>
                  <a:pt x="5741268" y="14445"/>
                </a:lnTo>
                <a:lnTo>
                  <a:pt x="5775311" y="32907"/>
                </a:lnTo>
                <a:cubicBezTo>
                  <a:pt x="5845785" y="80491"/>
                  <a:pt x="5892062" y="161102"/>
                  <a:pt x="5892062" y="252661"/>
                </a:cubicBezTo>
                <a:cubicBezTo>
                  <a:pt x="5892062" y="399157"/>
                  <a:pt x="5773592" y="517629"/>
                  <a:pt x="5627096" y="517629"/>
                </a:cubicBezTo>
                <a:cubicBezTo>
                  <a:pt x="5480601" y="516353"/>
                  <a:pt x="5362131" y="397885"/>
                  <a:pt x="5362131" y="252661"/>
                </a:cubicBezTo>
                <a:cubicBezTo>
                  <a:pt x="5362131" y="142791"/>
                  <a:pt x="5428771" y="48684"/>
                  <a:pt x="5523893" y="8497"/>
                </a:cubicBezTo>
                <a:close/>
              </a:path>
            </a:pathLst>
          </a:custGeom>
          <a:gradFill>
            <a:gsLst>
              <a:gs pos="100000">
                <a:schemeClr val="accent1">
                  <a:lumMod val="50000"/>
                  <a:alpha val="15000"/>
                </a:schemeClr>
              </a:gs>
              <a:gs pos="0">
                <a:schemeClr val="accent1">
                  <a:lumMod val="50000"/>
                  <a:alpha val="0"/>
                </a:schemeClr>
              </a:gs>
            </a:gsLst>
            <a:lin ang="18900000" scaled="0"/>
          </a:gradFill>
          <a:ln w="1273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9" name="Circle: Hollow 429">
            <a:extLst>
              <a:ext uri="{FF2B5EF4-FFF2-40B4-BE49-F238E27FC236}">
                <a16:creationId xmlns:a16="http://schemas.microsoft.com/office/drawing/2014/main" id="{B077384B-E21D-4447-B01E-977229B6C737}"/>
              </a:ext>
            </a:extLst>
          </p:cNvPr>
          <p:cNvSpPr/>
          <p:nvPr userDrawn="1"/>
        </p:nvSpPr>
        <p:spPr>
          <a:xfrm flipV="1">
            <a:off x="-1489805" y="945142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0A34C98-A857-4993-9B4A-7E97989E0AB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42808" y="370738"/>
            <a:ext cx="7480418" cy="7863840"/>
          </a:xfrm>
          <a:prstGeom prst="rect">
            <a:avLst/>
          </a:prstGeom>
          <a:effectLst>
            <a:outerShdw blurRad="2413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5236743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9A3E7D9-B718-4AFF-9113-2E8D87C0CE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5160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1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1326B13-744E-40E6-B876-9381D128C34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885973" y="2180645"/>
            <a:ext cx="9299448" cy="1097280"/>
          </a:xfrm>
        </p:spPr>
        <p:txBody>
          <a:bodyPr anchor="b">
            <a:noAutofit/>
          </a:bodyPr>
          <a:lstStyle>
            <a:lvl1pPr>
              <a:defRPr lang="en-US" sz="3600" kern="1200" dirty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noProof="0" dirty="0"/>
              <a:t>Simple Transition Slid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885973" y="3425318"/>
            <a:ext cx="9299448" cy="9144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4D9DFE-AD6F-7D42-B633-0143317A02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568" b="6638"/>
          <a:stretch/>
        </p:blipFill>
        <p:spPr>
          <a:xfrm rot="5400000">
            <a:off x="9322964" y="3883548"/>
            <a:ext cx="1557435" cy="4180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9134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2_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F84DEB2-0A31-4C55-A2D4-69F9A75B20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9230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5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640A19-423A-45EA-A23F-21C8A699412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0B6A97D-F12B-CF42-9AFE-22FA6872918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FBCFD75-118F-B74E-A7AD-948EF5D167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568" b="6638"/>
          <a:stretch/>
        </p:blipFill>
        <p:spPr>
          <a:xfrm rot="5400000">
            <a:off x="9326920" y="3884062"/>
            <a:ext cx="1553993" cy="41761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85973" y="2180645"/>
            <a:ext cx="9299448" cy="1097280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noProof="0" dirty="0"/>
              <a:t>Simple Transition Slid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5973" y="3425318"/>
            <a:ext cx="9299448" cy="9144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8728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25ACF47-EB87-40E3-AE52-2A6D31B105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8536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9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B246EC0-8F8F-49E4-9EA1-A6272D13FFF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85974" y="2176931"/>
            <a:ext cx="9185679" cy="1097280"/>
          </a:xfrm>
        </p:spPr>
        <p:txBody>
          <a:bodyPr anchor="b">
            <a:noAutofit/>
          </a:bodyPr>
          <a:lstStyle>
            <a:lvl1pPr>
              <a:defRPr sz="3600">
                <a:latin typeface="+mn-lt"/>
              </a:defRPr>
            </a:lvl1pPr>
          </a:lstStyle>
          <a:p>
            <a:r>
              <a:rPr lang="en-US" noProof="0" dirty="0"/>
              <a:t>Simple Transition Sl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5974" y="3425318"/>
            <a:ext cx="9185679" cy="9144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D9A8E06-4903-074D-BC96-9CD19F5B47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568" b="6638"/>
          <a:stretch/>
        </p:blipFill>
        <p:spPr>
          <a:xfrm rot="5400000">
            <a:off x="9326920" y="3884062"/>
            <a:ext cx="1553993" cy="4176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1208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D0FD60D-40F7-4304-95DF-836FE49882B9}"/>
              </a:ext>
            </a:extLst>
          </p:cNvPr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679ADEB-039C-40F5-B059-9154B51740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50" y="6301533"/>
            <a:ext cx="1793661" cy="216853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02B2964C-36DB-4F3D-A85E-783F6D118F2C}"/>
              </a:ext>
            </a:extLst>
          </p:cNvPr>
          <p:cNvGrpSpPr/>
          <p:nvPr userDrawn="1"/>
        </p:nvGrpSpPr>
        <p:grpSpPr>
          <a:xfrm>
            <a:off x="5613052" y="295276"/>
            <a:ext cx="6267488" cy="6267452"/>
            <a:chOff x="5613052" y="295276"/>
            <a:chExt cx="6267488" cy="6267452"/>
          </a:xfrm>
          <a:effectLst/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67A94C32-D8CA-41FE-B71A-1636268B15EF}"/>
                </a:ext>
              </a:extLst>
            </p:cNvPr>
            <p:cNvSpPr/>
            <p:nvPr userDrawn="1"/>
          </p:nvSpPr>
          <p:spPr>
            <a:xfrm>
              <a:off x="5613052" y="295276"/>
              <a:ext cx="6267488" cy="626745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>
                <a:solidFill>
                  <a:schemeClr val="bg1"/>
                </a:solidFill>
              </a:endParaRPr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DD21ACF2-2A83-47AB-862B-FCD6D86EAFFC}"/>
                </a:ext>
              </a:extLst>
            </p:cNvPr>
            <p:cNvSpPr/>
            <p:nvPr userDrawn="1"/>
          </p:nvSpPr>
          <p:spPr>
            <a:xfrm flipH="1">
              <a:off x="5755944" y="438149"/>
              <a:ext cx="5981704" cy="5981702"/>
            </a:xfrm>
            <a:prstGeom prst="donut">
              <a:avLst>
                <a:gd name="adj" fmla="val 16425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 dirty="0">
                <a:solidFill>
                  <a:schemeClr val="bg1"/>
                </a:solidFill>
              </a:endParaRPr>
            </a:p>
          </p:txBody>
        </p:sp>
        <p:pic>
          <p:nvPicPr>
            <p:cNvPr id="9" name="Picture 8" descr="A person sitting at a table&#10;&#10;Description automatically generated">
              <a:extLst>
                <a:ext uri="{FF2B5EF4-FFF2-40B4-BE49-F238E27FC236}">
                  <a16:creationId xmlns:a16="http://schemas.microsoft.com/office/drawing/2014/main" id="{045E0160-3614-470C-BDFC-C1F123CD4C1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763870" y="833718"/>
              <a:ext cx="3994616" cy="4601882"/>
            </a:xfrm>
            <a:prstGeom prst="rect">
              <a:avLst/>
            </a:prstGeom>
            <a:effectLst/>
          </p:spPr>
        </p:pic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49E5CC3A-6D1C-C944-923C-71CCB828D9BB}"/>
              </a:ext>
            </a:extLst>
          </p:cNvPr>
          <p:cNvSpPr/>
          <p:nvPr userDrawn="1"/>
        </p:nvSpPr>
        <p:spPr>
          <a:xfrm>
            <a:off x="336550" y="2619179"/>
            <a:ext cx="58844" cy="161964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3527350-0DA8-4B4C-974B-2185197298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4481" y="2176931"/>
            <a:ext cx="5205829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Simple Transition Slid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89DF1376-BA2A-DA4E-A1B1-DCEFBA5BF7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4481" y="3425318"/>
            <a:ext cx="5205829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1384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EF12C74-AB2F-4CFB-BFAA-20C3A325B9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420954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" name="think-cell Slide" r:id="rId24" imgW="306" imgH="306" progId="TCLayout.ActiveDocument.1">
                  <p:embed/>
                </p:oleObj>
              </mc:Choice>
              <mc:Fallback>
                <p:oleObj name="think-cell Slide" r:id="rId2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392B98E-190B-40F3-808A-1B89C606445C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8B3B38B-BBAD-CB4F-B082-D6F36EBDF90A}"/>
              </a:ext>
            </a:extLst>
          </p:cNvPr>
          <p:cNvSpPr/>
          <p:nvPr userDrawn="1"/>
        </p:nvSpPr>
        <p:spPr>
          <a:xfrm>
            <a:off x="0" y="6478169"/>
            <a:ext cx="12192000" cy="386316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2F1B53D-38F5-0E4D-9B1B-7F47F0BA2565}"/>
              </a:ext>
            </a:extLst>
          </p:cNvPr>
          <p:cNvSpPr txBox="1"/>
          <p:nvPr userDrawn="1"/>
        </p:nvSpPr>
        <p:spPr>
          <a:xfrm>
            <a:off x="2938291" y="6564730"/>
            <a:ext cx="652774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 kern="12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© 2021 Cotiviti, Inc. All rights reserved. All proprietary information shall remain the sole and exclusive property of Cotiviti, Inc.</a:t>
            </a:r>
            <a:endParaRPr lang="en-US" sz="100" kern="1200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+mn-lt"/>
              <a:ea typeface="+mn-ea"/>
              <a:cs typeface="+mn-cs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A98AEEC-4E67-7947-AEC3-138046D4CA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291455" y="6350141"/>
            <a:ext cx="1625600" cy="6223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65125"/>
            <a:ext cx="11277600" cy="914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95167"/>
            <a:ext cx="11277600" cy="478179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US" noProof="0" dirty="0"/>
              <a:t>Bullet 1</a:t>
            </a:r>
          </a:p>
          <a:p>
            <a:pPr lvl="1"/>
            <a:r>
              <a:rPr lang="en-US" noProof="0" dirty="0"/>
              <a:t>Bullet 2</a:t>
            </a:r>
          </a:p>
          <a:p>
            <a:pPr lvl="2"/>
            <a:r>
              <a:rPr lang="en-US" noProof="0" dirty="0"/>
              <a:t>Bullet 3</a:t>
            </a:r>
          </a:p>
          <a:p>
            <a:pPr lvl="3"/>
            <a:r>
              <a:rPr lang="en-US" noProof="0" dirty="0"/>
              <a:t>Bullet 4</a:t>
            </a:r>
          </a:p>
          <a:p>
            <a:pPr lvl="4"/>
            <a:r>
              <a:rPr lang="en-US" noProof="0" dirty="0"/>
              <a:t>Bullet 5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49892" y="6517079"/>
            <a:ext cx="484909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8BC64C03-9EC0-4B7E-8FE4-24DBF62E63E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9492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703" r:id="rId2"/>
    <p:sldLayoutId id="2147483730" r:id="rId3"/>
    <p:sldLayoutId id="2147483731" r:id="rId4"/>
    <p:sldLayoutId id="2147483732" r:id="rId5"/>
    <p:sldLayoutId id="2147483705" r:id="rId6"/>
    <p:sldLayoutId id="2147483706" r:id="rId7"/>
    <p:sldLayoutId id="2147483707" r:id="rId8"/>
    <p:sldLayoutId id="2147483738" r:id="rId9"/>
    <p:sldLayoutId id="2147483739" r:id="rId10"/>
    <p:sldLayoutId id="2147483740" r:id="rId11"/>
    <p:sldLayoutId id="2147483675" r:id="rId12"/>
    <p:sldLayoutId id="2147483679" r:id="rId13"/>
    <p:sldLayoutId id="2147483680" r:id="rId14"/>
    <p:sldLayoutId id="2147483681" r:id="rId15"/>
    <p:sldLayoutId id="2147483711" r:id="rId16"/>
    <p:sldLayoutId id="2147483712" r:id="rId17"/>
    <p:sldLayoutId id="2147483727" r:id="rId18"/>
    <p:sldLayoutId id="2147483728" r:id="rId19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100"/>
        </a:spcBef>
        <a:spcAft>
          <a:spcPts val="400"/>
        </a:spcAft>
        <a:buClr>
          <a:schemeClr val="accent2"/>
        </a:buClr>
        <a:buSzPct val="90000"/>
        <a:buFont typeface="Arial" panose="020B0604020202020204" pitchFamily="34" charset="0"/>
        <a:buNone/>
        <a:defRPr sz="1800" kern="1200" baseline="0">
          <a:solidFill>
            <a:schemeClr val="accent1"/>
          </a:solidFill>
          <a:latin typeface="+mj-lt"/>
          <a:ea typeface="+mn-ea"/>
          <a:cs typeface="+mn-cs"/>
        </a:defRPr>
      </a:lvl1pPr>
      <a:lvl2pPr marL="233363" indent="-233363" algn="l" defTabSz="685800" rtl="0" eaLnBrk="1" latinLnBrk="0" hangingPunct="1">
        <a:lnSpc>
          <a:spcPct val="100000"/>
        </a:lnSpc>
        <a:spcBef>
          <a:spcPts val="100"/>
        </a:spcBef>
        <a:spcAft>
          <a:spcPts val="400"/>
        </a:spcAft>
        <a:buClr>
          <a:schemeClr val="accent3"/>
        </a:buClr>
        <a:buSzPct val="100000"/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569913" indent="-255588" algn="l" defTabSz="685800" rtl="0" eaLnBrk="1" latinLnBrk="0" hangingPunct="1">
        <a:lnSpc>
          <a:spcPct val="100000"/>
        </a:lnSpc>
        <a:spcBef>
          <a:spcPts val="100"/>
        </a:spcBef>
        <a:spcAft>
          <a:spcPts val="400"/>
        </a:spcAft>
        <a:buClr>
          <a:schemeClr val="accent3"/>
        </a:buClr>
        <a:buSzPct val="81000"/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801688" indent="-190500" algn="l" defTabSz="685800" rtl="0" eaLnBrk="1" latinLnBrk="0" hangingPunct="1">
        <a:lnSpc>
          <a:spcPct val="100000"/>
        </a:lnSpc>
        <a:spcBef>
          <a:spcPts val="100"/>
        </a:spcBef>
        <a:spcAft>
          <a:spcPts val="400"/>
        </a:spcAft>
        <a:buClr>
          <a:schemeClr val="accent3"/>
        </a:buClr>
        <a:buSzPct val="75000"/>
        <a:buFont typeface="Wingdings" panose="05000000000000000000" pitchFamily="2" charset="2"/>
        <a:buChar char="§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800" rtl="0" eaLnBrk="1" latinLnBrk="0" hangingPunct="1">
        <a:lnSpc>
          <a:spcPct val="100000"/>
        </a:lnSpc>
        <a:spcBef>
          <a:spcPts val="600"/>
        </a:spcBef>
        <a:spcAft>
          <a:spcPts val="400"/>
        </a:spcAft>
        <a:buClr>
          <a:schemeClr val="accent2"/>
        </a:buClr>
        <a:buSzPct val="70000"/>
        <a:buFont typeface="Arial"/>
        <a:buNone/>
        <a:defRPr sz="15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hyperlink" Target="https://www.youtube.com/watch?v=LMHxxvbzFqc" TargetMode="Externa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hyperlink" Target="https://www.youtube.com/watch?v=mG_BZ8GgqJU" TargetMode="Externa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B4E202D-201A-4123-B0D5-E23D7E24766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2480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4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DD3ACF4-CFCC-0C4F-897D-C01B0573768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US Healthcare Basics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B193CA41-5CA8-CA40-984E-887A6D2EED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726" y="3774310"/>
            <a:ext cx="636650" cy="254114"/>
          </a:xfrm>
        </p:spPr>
        <p:txBody>
          <a:bodyPr/>
          <a:lstStyle/>
          <a:p>
            <a:r>
              <a:rPr lang="en-US" dirty="0"/>
              <a:t>Day 1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2C081F5-6189-964B-A1BC-421E7C8AB695}"/>
              </a:ext>
            </a:extLst>
          </p:cNvPr>
          <p:cNvSpPr txBox="1"/>
          <p:nvPr/>
        </p:nvSpPr>
        <p:spPr>
          <a:xfrm>
            <a:off x="1420751" y="3766814"/>
            <a:ext cx="903350" cy="2616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eb 17, 2021</a:t>
            </a:r>
          </a:p>
        </p:txBody>
      </p:sp>
      <p:sp>
        <p:nvSpPr>
          <p:cNvPr id="7" name="Subtitle 4">
            <a:extLst>
              <a:ext uri="{FF2B5EF4-FFF2-40B4-BE49-F238E27FC236}">
                <a16:creationId xmlns:a16="http://schemas.microsoft.com/office/drawing/2014/main" id="{F2526242-12D4-43F6-88B2-AB6763E03289}"/>
              </a:ext>
            </a:extLst>
          </p:cNvPr>
          <p:cNvSpPr txBox="1">
            <a:spLocks/>
          </p:cNvSpPr>
          <p:nvPr/>
        </p:nvSpPr>
        <p:spPr>
          <a:xfrm>
            <a:off x="449200" y="4253379"/>
            <a:ext cx="847725" cy="254114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40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None/>
              <a:defRPr sz="1500" kern="1200" baseline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4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400"/>
              </a:spcAft>
              <a:buClr>
                <a:schemeClr val="accent3"/>
              </a:buClr>
              <a:buSzPct val="81000"/>
              <a:buFont typeface="Courier New" panose="02070309020205020404" pitchFamily="49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400"/>
              </a:spcAft>
              <a:buClr>
                <a:schemeClr val="accent3"/>
              </a:buClr>
              <a:buSzPct val="75000"/>
              <a:buFont typeface="Wingdings" panose="05000000000000000000" pitchFamily="2" charset="2"/>
              <a:buNone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buClr>
                <a:schemeClr val="accent2"/>
              </a:buClr>
              <a:buSzPct val="70000"/>
              <a:buFont typeface="Arial"/>
              <a:buNone/>
              <a:defRPr sz="1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Traine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89B32E1-7227-496F-B131-CA6BC9C39E0F}"/>
              </a:ext>
            </a:extLst>
          </p:cNvPr>
          <p:cNvSpPr txBox="1"/>
          <p:nvPr/>
        </p:nvSpPr>
        <p:spPr>
          <a:xfrm>
            <a:off x="1420750" y="4253379"/>
            <a:ext cx="1531999" cy="2616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ameer Tuladhar</a:t>
            </a:r>
          </a:p>
        </p:txBody>
      </p:sp>
    </p:spTree>
    <p:extLst>
      <p:ext uri="{BB962C8B-B14F-4D97-AF65-F5344CB8AC3E}">
        <p14:creationId xmlns:p14="http://schemas.microsoft.com/office/powerpoint/2010/main" val="3911564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67750B2-2791-436B-B7E9-62003284FB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10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8313371-B5C9-4359-9FD3-7B499BBBC0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.S. has among the highest rates of Hospitalizations from Preventable Causes like Diabetes and Hypertensi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BF71AAC-CF3D-47D1-AABA-BD41FACDCE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43075" y="1234627"/>
            <a:ext cx="8229600" cy="4390961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973C175-4A9B-4C4F-AF25-DA84D3979F65}"/>
              </a:ext>
            </a:extLst>
          </p:cNvPr>
          <p:cNvSpPr/>
          <p:nvPr/>
        </p:nvSpPr>
        <p:spPr>
          <a:xfrm>
            <a:off x="847726" y="5877126"/>
            <a:ext cx="2552699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b="1" dirty="0">
                <a:solidFill>
                  <a:schemeClr val="accent1"/>
                </a:solidFill>
                <a:latin typeface="+mj-lt"/>
              </a:rPr>
              <a:t>Data: OECD Health Statistics 2019</a:t>
            </a:r>
          </a:p>
          <a:p>
            <a:endParaRPr lang="en-US" sz="1050" b="1" dirty="0">
              <a:solidFill>
                <a:schemeClr val="accent1"/>
              </a:solidFill>
              <a:latin typeface="+mj-lt"/>
            </a:endParaRPr>
          </a:p>
          <a:p>
            <a:r>
              <a:rPr lang="en-US" sz="1050" b="1" dirty="0">
                <a:solidFill>
                  <a:schemeClr val="accent1"/>
                </a:solidFill>
                <a:latin typeface="+mj-lt"/>
              </a:rPr>
              <a:t>Commonwealthfund.org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563919C-73D3-4455-A5D9-593F6F55D4CD}"/>
              </a:ext>
            </a:extLst>
          </p:cNvPr>
          <p:cNvSpPr/>
          <p:nvPr/>
        </p:nvSpPr>
        <p:spPr>
          <a:xfrm>
            <a:off x="4181475" y="5648651"/>
            <a:ext cx="2790825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b="1" dirty="0">
                <a:solidFill>
                  <a:schemeClr val="accent1"/>
                </a:solidFill>
                <a:latin typeface="+mj-lt"/>
              </a:rPr>
              <a:t>Discharges per 100,000 population</a:t>
            </a:r>
          </a:p>
        </p:txBody>
      </p:sp>
    </p:spTree>
    <p:extLst>
      <p:ext uri="{BB962C8B-B14F-4D97-AF65-F5344CB8AC3E}">
        <p14:creationId xmlns:p14="http://schemas.microsoft.com/office/powerpoint/2010/main" val="31261764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C942F4E-898B-4BD8-A4C7-C3434985CC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11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EF02B09-CC9F-4287-8EF5-D45B9E32E2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.S. has the highest rate of Avoidable death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C62EDD0-BF1D-4649-9A7E-599D76E516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1125" y="1173055"/>
            <a:ext cx="8143875" cy="419574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A54AE95-DD30-4E40-AFDB-0623B97B8711}"/>
              </a:ext>
            </a:extLst>
          </p:cNvPr>
          <p:cNvSpPr/>
          <p:nvPr/>
        </p:nvSpPr>
        <p:spPr>
          <a:xfrm>
            <a:off x="847726" y="5877126"/>
            <a:ext cx="2552699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b="1" dirty="0">
                <a:solidFill>
                  <a:schemeClr val="accent1"/>
                </a:solidFill>
                <a:latin typeface="+mj-lt"/>
              </a:rPr>
              <a:t>Data: OECD Health Statistics 2019</a:t>
            </a:r>
          </a:p>
          <a:p>
            <a:endParaRPr lang="en-US" sz="1050" b="1" dirty="0">
              <a:solidFill>
                <a:schemeClr val="accent1"/>
              </a:solidFill>
              <a:latin typeface="+mj-lt"/>
            </a:endParaRPr>
          </a:p>
          <a:p>
            <a:r>
              <a:rPr lang="en-US" sz="1050" b="1" dirty="0">
                <a:solidFill>
                  <a:schemeClr val="accent1"/>
                </a:solidFill>
                <a:latin typeface="+mj-lt"/>
              </a:rPr>
              <a:t>Commonwealthfund.org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847BFCD-EBC5-4D56-A556-F018264D2BDD}"/>
              </a:ext>
            </a:extLst>
          </p:cNvPr>
          <p:cNvSpPr/>
          <p:nvPr/>
        </p:nvSpPr>
        <p:spPr>
          <a:xfrm>
            <a:off x="4181475" y="5648651"/>
            <a:ext cx="2390775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b="1" dirty="0">
                <a:solidFill>
                  <a:schemeClr val="accent1"/>
                </a:solidFill>
                <a:latin typeface="+mj-lt"/>
              </a:rPr>
              <a:t>Deaths per 100,000 population</a:t>
            </a:r>
          </a:p>
        </p:txBody>
      </p:sp>
    </p:spTree>
    <p:extLst>
      <p:ext uri="{BB962C8B-B14F-4D97-AF65-F5344CB8AC3E}">
        <p14:creationId xmlns:p14="http://schemas.microsoft.com/office/powerpoint/2010/main" val="25399335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2FA7C0F-BD3B-43FC-9A54-D058712316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3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2FA7C0F-BD3B-43FC-9A54-D058712316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71D193A1-AAED-2442-9E0A-9F9EAFD4ED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8725" y="1668914"/>
            <a:ext cx="10075925" cy="1253627"/>
          </a:xfrm>
        </p:spPr>
        <p:txBody>
          <a:bodyPr/>
          <a:lstStyle/>
          <a:p>
            <a:r>
              <a:rPr lang="en-US" dirty="0"/>
              <a:t>Introduction to the U.S. Healthcare System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E4DE64CA-492C-E047-B5D7-0E54F38436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1600" y="5207879"/>
            <a:ext cx="3532249" cy="945272"/>
          </a:xfrm>
        </p:spPr>
        <p:txBody>
          <a:bodyPr/>
          <a:lstStyle/>
          <a:p>
            <a:r>
              <a:rPr lang="en-US" sz="1800" dirty="0"/>
              <a:t>Reference: </a:t>
            </a:r>
            <a:r>
              <a:rPr lang="en-US" sz="1200" b="1" i="1" dirty="0"/>
              <a:t>https://www.khanacademy.org/partner-content/brookings-institution/introduction-to-healthcare</a:t>
            </a:r>
          </a:p>
        </p:txBody>
      </p:sp>
    </p:spTree>
    <p:extLst>
      <p:ext uri="{BB962C8B-B14F-4D97-AF65-F5344CB8AC3E}">
        <p14:creationId xmlns:p14="http://schemas.microsoft.com/office/powerpoint/2010/main" val="1255804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984CE75-6B5D-4EC8-8A55-29C028720E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13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BB8F066-F1A8-4D1D-981F-493700E5FD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.S. Healthcare System Overview: Market Players</a:t>
            </a:r>
          </a:p>
        </p:txBody>
      </p:sp>
      <p:pic>
        <p:nvPicPr>
          <p:cNvPr id="5" name="Picture 4">
            <a:hlinkClick r:id="rId2"/>
            <a:extLst>
              <a:ext uri="{FF2B5EF4-FFF2-40B4-BE49-F238E27FC236}">
                <a16:creationId xmlns:a16="http://schemas.microsoft.com/office/drawing/2014/main" id="{4277718A-520E-42A8-927C-71431FF5AE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36112" y="1362075"/>
            <a:ext cx="8703264" cy="4772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50883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C942F4E-898B-4BD8-A4C7-C3434985CC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14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EF02B09-CC9F-4287-8EF5-D45B9E32E2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.S. Healthcare System: Introduction and complexity</a:t>
            </a:r>
          </a:p>
        </p:txBody>
      </p:sp>
      <p:pic>
        <p:nvPicPr>
          <p:cNvPr id="8" name="Picture 7">
            <a:hlinkClick r:id="rId2"/>
            <a:extLst>
              <a:ext uri="{FF2B5EF4-FFF2-40B4-BE49-F238E27FC236}">
                <a16:creationId xmlns:a16="http://schemas.microsoft.com/office/drawing/2014/main" id="{2A1DCB93-2B6D-4DD0-A6CB-AAE1BE2F15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0746" y="1203198"/>
            <a:ext cx="9473879" cy="5024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812491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AC8B82A-C7BF-4F0C-A59E-FB7ABEAA31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1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BDBB35-0513-4402-AB2F-8CFF238E757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1. Based on the learnings in Day 1 session, summarize your understanding on why US healthcare is complex and how patient gets the medical facilities/treatment in US Healthcare System, what are the major players of the US healthcare market involved in provided the medical as well as financial(insurance) services. Write concisely in 1000 words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B6E2672-C0D2-43C7-BECD-DB7B113A7C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20675"/>
            <a:ext cx="11277600" cy="914400"/>
          </a:xfrm>
        </p:spPr>
        <p:txBody>
          <a:bodyPr/>
          <a:lstStyle/>
          <a:p>
            <a:r>
              <a:rPr lang="en-US" dirty="0"/>
              <a:t>Assignment 1.</a:t>
            </a:r>
          </a:p>
        </p:txBody>
      </p:sp>
    </p:spTree>
    <p:extLst>
      <p:ext uri="{BB962C8B-B14F-4D97-AF65-F5344CB8AC3E}">
        <p14:creationId xmlns:p14="http://schemas.microsoft.com/office/powerpoint/2010/main" val="9572549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23991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2FA7C0F-BD3B-43FC-9A54-D058712316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9714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9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71D193A1-AAED-2442-9E0A-9F9EAFD4ED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8725" y="1668914"/>
            <a:ext cx="7072233" cy="1253627"/>
          </a:xfrm>
        </p:spPr>
        <p:txBody>
          <a:bodyPr/>
          <a:lstStyle/>
          <a:p>
            <a:r>
              <a:rPr lang="en-US" dirty="0"/>
              <a:t>US Healthcare from a Global Perspective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E4DE64CA-492C-E047-B5D7-0E54F38436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1600" y="5207879"/>
            <a:ext cx="3532249" cy="945272"/>
          </a:xfrm>
        </p:spPr>
        <p:txBody>
          <a:bodyPr/>
          <a:lstStyle/>
          <a:p>
            <a:r>
              <a:rPr lang="en-US" sz="1800" dirty="0"/>
              <a:t>Reference: </a:t>
            </a:r>
            <a:r>
              <a:rPr lang="en-US" sz="1200" b="1" i="1" dirty="0"/>
              <a:t>https://www.commonwealthfund.org/publications/issue-briefs/2020/jan/us-health-care-global-perspective-2019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BDBFD8E-645E-454E-80B1-FB15086C98CA}"/>
              </a:ext>
            </a:extLst>
          </p:cNvPr>
          <p:cNvSpPr/>
          <p:nvPr/>
        </p:nvSpPr>
        <p:spPr>
          <a:xfrm>
            <a:off x="2695074" y="3196796"/>
            <a:ext cx="707223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accent1"/>
                </a:solidFill>
                <a:latin typeface="+mj-lt"/>
              </a:rPr>
              <a:t>Analysis highlights in a series of </a:t>
            </a:r>
            <a:r>
              <a:rPr lang="en-US" dirty="0" err="1">
                <a:solidFill>
                  <a:schemeClr val="accent1"/>
                </a:solidFill>
                <a:latin typeface="+mj-lt"/>
              </a:rPr>
              <a:t>Commonweath</a:t>
            </a:r>
            <a:r>
              <a:rPr lang="en-US" dirty="0">
                <a:solidFill>
                  <a:schemeClr val="accent1"/>
                </a:solidFill>
                <a:latin typeface="+mj-lt"/>
              </a:rPr>
              <a:t> Fund cross-national comparisons that uses health data from the Organization for Economic Co-operation and Development (OECD) to access US Healthcare System</a:t>
            </a:r>
          </a:p>
        </p:txBody>
      </p:sp>
    </p:spTree>
    <p:extLst>
      <p:ext uri="{BB962C8B-B14F-4D97-AF65-F5344CB8AC3E}">
        <p14:creationId xmlns:p14="http://schemas.microsoft.com/office/powerpoint/2010/main" val="27207404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3F99A9E-1D32-40BB-B8ED-BA8469F717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95847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2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FF8851-FE1A-4641-8D5D-7D466CBC64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490285"/>
            <a:ext cx="11277600" cy="440519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U.S. spends more on health care as a share of the economy — nearly twice as much as the average OECD country — yet has the lowest life expectancy and highest suicide rates among the 11 nation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U.S. has the highest chronic disease burden and an obesity rate that is two times higher than the OECD averag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mericans had fewer physician visits than peers in most countries, which may be related to a low supply of physicians in the U.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mericans use some expensive technologies, such as MRIs, and specialized procedures, such as hip replacements, more often than our peer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mpared to peer nations, the U.S. has among the highest number of hospitalizations from preventable causes and the highest rate of avoidable death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U.S. outperforms its peers in terms of preventive measures — it has the one of the highest rates of breast cancer screening among women ages 50 to 69 and the second-highest rate (after the U.K.) of flu vaccinations among people age 65 and old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46FE285-EF0D-A142-95E9-0EAF973826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ghlights</a:t>
            </a:r>
          </a:p>
        </p:txBody>
      </p:sp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id="{8722D2DD-E452-B748-83F2-82685792F0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61419" y="6517079"/>
            <a:ext cx="363682" cy="274320"/>
          </a:xfrm>
        </p:spPr>
        <p:txBody>
          <a:bodyPr/>
          <a:lstStyle/>
          <a:p>
            <a:fld id="{8BC64C03-9EC0-4B7E-8FE4-24DBF62E63E5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76673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4A271EB-2025-4420-9652-96E2F132F7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4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088EC7B-76AE-466B-870E-D5FD21B1B6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.S. Spends more on Health Care than any other countri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DCBE35E-6F03-401B-BF3A-C076B454F70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178"/>
          <a:stretch/>
        </p:blipFill>
        <p:spPr>
          <a:xfrm>
            <a:off x="1419225" y="1057275"/>
            <a:ext cx="7715250" cy="4486275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A17A938-8219-4EB7-BCD9-4ECCD7C65C29}"/>
              </a:ext>
            </a:extLst>
          </p:cNvPr>
          <p:cNvSpPr/>
          <p:nvPr/>
        </p:nvSpPr>
        <p:spPr>
          <a:xfrm>
            <a:off x="1419226" y="5591376"/>
            <a:ext cx="2552699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b="1" dirty="0">
                <a:solidFill>
                  <a:schemeClr val="accent1"/>
                </a:solidFill>
                <a:latin typeface="+mj-lt"/>
              </a:rPr>
              <a:t>Data: OECD Health Statistics 2019</a:t>
            </a:r>
          </a:p>
          <a:p>
            <a:endParaRPr lang="en-US" sz="1050" b="1" dirty="0">
              <a:solidFill>
                <a:schemeClr val="accent1"/>
              </a:solidFill>
              <a:latin typeface="+mj-lt"/>
            </a:endParaRPr>
          </a:p>
          <a:p>
            <a:r>
              <a:rPr lang="en-US" sz="1050" b="1" dirty="0">
                <a:solidFill>
                  <a:schemeClr val="accent1"/>
                </a:solidFill>
                <a:latin typeface="+mj-lt"/>
              </a:rPr>
              <a:t>Commonwealthfund.org</a:t>
            </a:r>
          </a:p>
        </p:txBody>
      </p:sp>
    </p:spTree>
    <p:extLst>
      <p:ext uri="{BB962C8B-B14F-4D97-AF65-F5344CB8AC3E}">
        <p14:creationId xmlns:p14="http://schemas.microsoft.com/office/powerpoint/2010/main" val="7197757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5BBC217-5D7D-4692-B0B3-3EC42BDFB6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5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9686F25-5D92-49A6-9AFC-3941CFD86F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.S. Public Spending is similar to Other Countries; Out-of-Pocket and Private Spending are Higher than mos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C23B5DB-43FA-49B8-B396-65ED65490A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3900" y="1279525"/>
            <a:ext cx="8142102" cy="449282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9BEBECC-8D63-4325-81A3-EE02716836BB}"/>
              </a:ext>
            </a:extLst>
          </p:cNvPr>
          <p:cNvSpPr/>
          <p:nvPr/>
        </p:nvSpPr>
        <p:spPr>
          <a:xfrm>
            <a:off x="628651" y="5772351"/>
            <a:ext cx="2552699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b="1" dirty="0">
                <a:solidFill>
                  <a:schemeClr val="accent1"/>
                </a:solidFill>
                <a:latin typeface="+mj-lt"/>
              </a:rPr>
              <a:t>Data: OECD Health Statistics 2019</a:t>
            </a:r>
          </a:p>
          <a:p>
            <a:endParaRPr lang="en-US" sz="1050" b="1" dirty="0">
              <a:solidFill>
                <a:schemeClr val="accent1"/>
              </a:solidFill>
              <a:latin typeface="+mj-lt"/>
            </a:endParaRPr>
          </a:p>
          <a:p>
            <a:r>
              <a:rPr lang="en-US" sz="1050" b="1" dirty="0">
                <a:solidFill>
                  <a:schemeClr val="accent1"/>
                </a:solidFill>
                <a:latin typeface="+mj-lt"/>
              </a:rPr>
              <a:t>Commonwealthfund.org</a:t>
            </a:r>
          </a:p>
        </p:txBody>
      </p:sp>
    </p:spTree>
    <p:extLst>
      <p:ext uri="{BB962C8B-B14F-4D97-AF65-F5344CB8AC3E}">
        <p14:creationId xmlns:p14="http://schemas.microsoft.com/office/powerpoint/2010/main" val="35035150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2B376B4-9A3E-49FC-AF53-131E2E28A6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6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472690F-D4EB-4385-8AE6-9385A86505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.S. has the Lowest Life Expectancy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95F3BF3-60C9-444D-A1D9-86A5DCF9D4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7700" y="1111523"/>
            <a:ext cx="7866834" cy="466082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47ACFA6-CE7D-492A-BAA1-596032370732}"/>
              </a:ext>
            </a:extLst>
          </p:cNvPr>
          <p:cNvSpPr/>
          <p:nvPr/>
        </p:nvSpPr>
        <p:spPr>
          <a:xfrm>
            <a:off x="628651" y="5772351"/>
            <a:ext cx="2552699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b="1" dirty="0">
                <a:solidFill>
                  <a:schemeClr val="accent1"/>
                </a:solidFill>
                <a:latin typeface="+mj-lt"/>
              </a:rPr>
              <a:t>Data: OECD Health Statistics 2019</a:t>
            </a:r>
          </a:p>
          <a:p>
            <a:endParaRPr lang="en-US" sz="1050" b="1" dirty="0">
              <a:solidFill>
                <a:schemeClr val="accent1"/>
              </a:solidFill>
              <a:latin typeface="+mj-lt"/>
            </a:endParaRPr>
          </a:p>
          <a:p>
            <a:r>
              <a:rPr lang="en-US" sz="1050" b="1" dirty="0">
                <a:solidFill>
                  <a:schemeClr val="accent1"/>
                </a:solidFill>
                <a:latin typeface="+mj-lt"/>
              </a:rPr>
              <a:t>Commonwealthfund.org</a:t>
            </a:r>
          </a:p>
        </p:txBody>
      </p:sp>
    </p:spTree>
    <p:extLst>
      <p:ext uri="{BB962C8B-B14F-4D97-AF65-F5344CB8AC3E}">
        <p14:creationId xmlns:p14="http://schemas.microsoft.com/office/powerpoint/2010/main" val="29258293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BBD58D9-AC4F-4B4A-98A2-7987090DD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7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39C762A-6407-4D95-AEDD-1E6A6875E7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U.S. Adults have the Highest Suicide Rates and Chronic Disease Burde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4CE0F79-DF88-4BD8-AE02-6EB1F082BF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63121" y="1098550"/>
            <a:ext cx="5229225" cy="426785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1BFC02F-7664-4358-9DC0-7F5A537D6C93}"/>
              </a:ext>
            </a:extLst>
          </p:cNvPr>
          <p:cNvSpPr/>
          <p:nvPr/>
        </p:nvSpPr>
        <p:spPr>
          <a:xfrm>
            <a:off x="847726" y="5877126"/>
            <a:ext cx="2552699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b="1" dirty="0">
                <a:solidFill>
                  <a:schemeClr val="accent1"/>
                </a:solidFill>
                <a:latin typeface="+mj-lt"/>
              </a:rPr>
              <a:t>Data: OECD Health Statistics 2019</a:t>
            </a:r>
          </a:p>
          <a:p>
            <a:endParaRPr lang="en-US" sz="1050" b="1" dirty="0">
              <a:solidFill>
                <a:schemeClr val="accent1"/>
              </a:solidFill>
              <a:latin typeface="+mj-lt"/>
            </a:endParaRPr>
          </a:p>
          <a:p>
            <a:r>
              <a:rPr lang="en-US" sz="1050" b="1" dirty="0">
                <a:solidFill>
                  <a:schemeClr val="accent1"/>
                </a:solidFill>
                <a:latin typeface="+mj-lt"/>
              </a:rPr>
              <a:t>Commonwealthfund.org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870AAF7-5099-488C-92ED-B5907587AA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199" y="1215219"/>
            <a:ext cx="5538683" cy="4242605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F6BCFC1B-4E7F-4BBD-8E8D-54889B98247A}"/>
              </a:ext>
            </a:extLst>
          </p:cNvPr>
          <p:cNvSpPr/>
          <p:nvPr/>
        </p:nvSpPr>
        <p:spPr>
          <a:xfrm>
            <a:off x="2650278" y="5413559"/>
            <a:ext cx="1152524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b="1" dirty="0">
                <a:solidFill>
                  <a:schemeClr val="accent1"/>
                </a:solidFill>
                <a:latin typeface="+mj-lt"/>
              </a:rPr>
              <a:t>Suicide Rat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D7B0C4D-DC1C-49FF-A6E4-770D8795027C}"/>
              </a:ext>
            </a:extLst>
          </p:cNvPr>
          <p:cNvSpPr/>
          <p:nvPr/>
        </p:nvSpPr>
        <p:spPr>
          <a:xfrm>
            <a:off x="8460527" y="5413559"/>
            <a:ext cx="1950297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b="1" dirty="0">
                <a:solidFill>
                  <a:schemeClr val="accent1"/>
                </a:solidFill>
                <a:latin typeface="+mj-lt"/>
              </a:rPr>
              <a:t>Chronic Disease Burden</a:t>
            </a:r>
          </a:p>
        </p:txBody>
      </p:sp>
    </p:spTree>
    <p:extLst>
      <p:ext uri="{BB962C8B-B14F-4D97-AF65-F5344CB8AC3E}">
        <p14:creationId xmlns:p14="http://schemas.microsoft.com/office/powerpoint/2010/main" val="9848655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EFF17CF-AA4D-43C3-AA61-37A88F8E13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31F1360-78B2-47E4-BD1C-537B322E5A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Americans visit the Doctor less frequently and have fewer Physicians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AFC70B0-23CB-4326-BFE3-3BB212236E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4425" y="1270886"/>
            <a:ext cx="9372600" cy="4060387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96F00C2-D737-4DDD-A457-7FA686B5E9BB}"/>
              </a:ext>
            </a:extLst>
          </p:cNvPr>
          <p:cNvSpPr/>
          <p:nvPr/>
        </p:nvSpPr>
        <p:spPr>
          <a:xfrm>
            <a:off x="847726" y="5877126"/>
            <a:ext cx="2552699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b="1" dirty="0">
                <a:solidFill>
                  <a:schemeClr val="accent1"/>
                </a:solidFill>
                <a:latin typeface="+mj-lt"/>
              </a:rPr>
              <a:t>Data: OECD Health Statistics 2019</a:t>
            </a:r>
          </a:p>
          <a:p>
            <a:endParaRPr lang="en-US" sz="1050" b="1" dirty="0">
              <a:solidFill>
                <a:schemeClr val="accent1"/>
              </a:solidFill>
              <a:latin typeface="+mj-lt"/>
            </a:endParaRPr>
          </a:p>
          <a:p>
            <a:r>
              <a:rPr lang="en-US" sz="1050" b="1" dirty="0">
                <a:solidFill>
                  <a:schemeClr val="accent1"/>
                </a:solidFill>
                <a:latin typeface="+mj-lt"/>
              </a:rPr>
              <a:t>Commonwealthfund.org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0CD9CDD-CFEB-4C7F-A3A3-EE199101AA71}"/>
              </a:ext>
            </a:extLst>
          </p:cNvPr>
          <p:cNvSpPr/>
          <p:nvPr/>
        </p:nvSpPr>
        <p:spPr>
          <a:xfrm>
            <a:off x="1885951" y="5413559"/>
            <a:ext cx="3140924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b="1" dirty="0">
                <a:solidFill>
                  <a:schemeClr val="accent1"/>
                </a:solidFill>
                <a:latin typeface="+mj-lt"/>
              </a:rPr>
              <a:t>Average physician visits per capita, 2017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529F9AC-0704-44A8-8ECE-5E87E4999644}"/>
              </a:ext>
            </a:extLst>
          </p:cNvPr>
          <p:cNvSpPr/>
          <p:nvPr/>
        </p:nvSpPr>
        <p:spPr>
          <a:xfrm>
            <a:off x="6543675" y="5413559"/>
            <a:ext cx="3476625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b="1" dirty="0">
                <a:solidFill>
                  <a:schemeClr val="accent1"/>
                </a:solidFill>
                <a:latin typeface="+mj-lt"/>
              </a:rPr>
              <a:t>Practicing physicians per 1000 population, 2018</a:t>
            </a:r>
          </a:p>
        </p:txBody>
      </p:sp>
    </p:spTree>
    <p:extLst>
      <p:ext uri="{BB962C8B-B14F-4D97-AF65-F5344CB8AC3E}">
        <p14:creationId xmlns:p14="http://schemas.microsoft.com/office/powerpoint/2010/main" val="38664812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1079F57-B4C8-414E-BFBB-11EABDCB84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9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2E7F5FC-B9F2-4223-9479-E06BDC7E51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7250" y="1167105"/>
            <a:ext cx="8639174" cy="429279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50D7E47B-3ECE-485E-ADBA-3D6987B40E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.S. has a high rate of MRI Scan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B7B26E5-3C6B-4BB7-AC0A-4100968858F5}"/>
              </a:ext>
            </a:extLst>
          </p:cNvPr>
          <p:cNvSpPr/>
          <p:nvPr/>
        </p:nvSpPr>
        <p:spPr>
          <a:xfrm>
            <a:off x="847726" y="5877126"/>
            <a:ext cx="2552699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b="1" dirty="0">
                <a:solidFill>
                  <a:schemeClr val="accent1"/>
                </a:solidFill>
                <a:latin typeface="+mj-lt"/>
              </a:rPr>
              <a:t>Data: OECD Health Statistics 2019</a:t>
            </a:r>
          </a:p>
          <a:p>
            <a:endParaRPr lang="en-US" sz="1050" b="1" dirty="0">
              <a:solidFill>
                <a:schemeClr val="accent1"/>
              </a:solidFill>
              <a:latin typeface="+mj-lt"/>
            </a:endParaRPr>
          </a:p>
          <a:p>
            <a:r>
              <a:rPr lang="en-US" sz="1050" b="1" dirty="0">
                <a:solidFill>
                  <a:schemeClr val="accent1"/>
                </a:solidFill>
                <a:latin typeface="+mj-lt"/>
              </a:rPr>
              <a:t>Commonwealthfund.org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83001AB-804A-4C94-9F64-2DB525AB1E17}"/>
              </a:ext>
            </a:extLst>
          </p:cNvPr>
          <p:cNvSpPr/>
          <p:nvPr/>
        </p:nvSpPr>
        <p:spPr>
          <a:xfrm>
            <a:off x="3067050" y="5521693"/>
            <a:ext cx="4457699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b="1" dirty="0">
                <a:solidFill>
                  <a:schemeClr val="accent1"/>
                </a:solidFill>
                <a:latin typeface="+mj-lt"/>
              </a:rPr>
              <a:t>Magnetic Resonance Imaging(MRI) scans per 1000 population</a:t>
            </a:r>
          </a:p>
        </p:txBody>
      </p:sp>
    </p:spTree>
    <p:extLst>
      <p:ext uri="{BB962C8B-B14F-4D97-AF65-F5344CB8AC3E}">
        <p14:creationId xmlns:p14="http://schemas.microsoft.com/office/powerpoint/2010/main" val="38845405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ZG4Xsi8ujo4POZdcaaE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sW.DIeOxRiDmUqeiCUf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sePKmXE6txe7dguw_Uj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IcgM8Za4zcKAG1PnLPO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KIivFnFJr8zfOPH3IBq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1smOlCia0LnRVn34pek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SDfcNeXbrJyUhzm821I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PtZwWNNZ_N4Z9Yz22PW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53FziJKxKTAmuRYooTt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BFWjtxCEXwHOcxg5Wjh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eGp8fk0OF3Czihc62mZg"/>
</p:tagLst>
</file>

<file path=ppt/theme/theme1.xml><?xml version="1.0" encoding="utf-8"?>
<a:theme xmlns:a="http://schemas.openxmlformats.org/drawingml/2006/main" name="Cotiviti_PPT_Template_4x3_Final">
  <a:themeElements>
    <a:clrScheme name="New G62 Scheme">
      <a:dk1>
        <a:srgbClr val="000000"/>
      </a:dk1>
      <a:lt1>
        <a:srgbClr val="FFFFFF"/>
      </a:lt1>
      <a:dk2>
        <a:srgbClr val="FF8C00"/>
      </a:dk2>
      <a:lt2>
        <a:srgbClr val="A3D55F"/>
      </a:lt2>
      <a:accent1>
        <a:srgbClr val="30006F"/>
      </a:accent1>
      <a:accent2>
        <a:srgbClr val="9579D3"/>
      </a:accent2>
      <a:accent3>
        <a:srgbClr val="EC008C"/>
      </a:accent3>
      <a:accent4>
        <a:srgbClr val="7C77AD"/>
      </a:accent4>
      <a:accent5>
        <a:srgbClr val="00AEEF"/>
      </a:accent5>
      <a:accent6>
        <a:srgbClr val="00BCB5"/>
      </a:accent6>
      <a:hlink>
        <a:srgbClr val="9579D3"/>
      </a:hlink>
      <a:folHlink>
        <a:srgbClr val="D2D3DC"/>
      </a:folHlink>
    </a:clrScheme>
    <a:fontScheme name="Mont 2">
      <a:majorFont>
        <a:latin typeface="Montserrat SemiBold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Widescreen Corporate Upgrade" id="{CEAD6CDB-4441-4F05-9F86-421965187B6F}" vid="{78E99B6E-9CC5-410C-A0C5-3974245FAA3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tiviti_PPT_Template_4x3_Final</Template>
  <TotalTime>469</TotalTime>
  <Words>605</Words>
  <Application>Microsoft Office PowerPoint</Application>
  <PresentationFormat>Widescreen</PresentationFormat>
  <Paragraphs>72</Paragraphs>
  <Slides>1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4" baseType="lpstr">
      <vt:lpstr>Montserrat SemiBold</vt:lpstr>
      <vt:lpstr>Montserrat</vt:lpstr>
      <vt:lpstr>Calibri</vt:lpstr>
      <vt:lpstr>Wingdings</vt:lpstr>
      <vt:lpstr>Arial</vt:lpstr>
      <vt:lpstr>Courier New</vt:lpstr>
      <vt:lpstr>Cotiviti_PPT_Template_4x3_Final</vt:lpstr>
      <vt:lpstr>think-cell Slide</vt:lpstr>
      <vt:lpstr>US Healthcare Basics</vt:lpstr>
      <vt:lpstr>US Healthcare from a Global Perspective</vt:lpstr>
      <vt:lpstr>Highlights</vt:lpstr>
      <vt:lpstr>U.S. Spends more on Health Care than any other countries</vt:lpstr>
      <vt:lpstr>U.S. Public Spending is similar to Other Countries; Out-of-Pocket and Private Spending are Higher than most</vt:lpstr>
      <vt:lpstr>U.S. has the Lowest Life Expectancy</vt:lpstr>
      <vt:lpstr>U.S. Adults have the Highest Suicide Rates and Chronic Disease Burden</vt:lpstr>
      <vt:lpstr>Americans visit the Doctor less frequently and have fewer Physicians</vt:lpstr>
      <vt:lpstr>U.S. has a high rate of MRI Scans</vt:lpstr>
      <vt:lpstr>U.S. has among the highest rates of Hospitalizations from Preventable Causes like Diabetes and Hypertension</vt:lpstr>
      <vt:lpstr>U.S. has the highest rate of Avoidable deaths</vt:lpstr>
      <vt:lpstr>Introduction to the U.S. Healthcare System</vt:lpstr>
      <vt:lpstr>U.S. Healthcare System Overview: Market Players</vt:lpstr>
      <vt:lpstr>U.S. Healthcare System: Introduction and complexity</vt:lpstr>
      <vt:lpstr>Assignment 1.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Johnson, Mica</dc:creator>
  <cp:keywords/>
  <dc:description/>
  <cp:lastModifiedBy>Tuladhar, Sameer</cp:lastModifiedBy>
  <cp:revision>32</cp:revision>
  <cp:lastPrinted>2018-10-01T18:51:50Z</cp:lastPrinted>
  <dcterms:created xsi:type="dcterms:W3CDTF">2020-12-18T17:42:26Z</dcterms:created>
  <dcterms:modified xsi:type="dcterms:W3CDTF">2021-02-17T05:45:12Z</dcterms:modified>
  <cp:category/>
</cp:coreProperties>
</file>